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4"/>
  </p:notesMasterIdLst>
  <p:sldIdLst>
    <p:sldId id="804" r:id="rId2"/>
    <p:sldId id="803" r:id="rId3"/>
  </p:sldIdLst>
  <p:sldSz cx="9144000" cy="6858000" type="screen4x3"/>
  <p:notesSz cx="6858000" cy="9144000"/>
  <p:defaultTextStyle>
    <a:defPPr>
      <a:defRPr lang="en-US"/>
    </a:defPPr>
    <a:lvl1pPr algn="l" defTabSz="938213" rtl="0" eaLnBrk="0" fontAlgn="base" hangingPunct="0">
      <a:spcBef>
        <a:spcPct val="0"/>
      </a:spcBef>
      <a:spcAft>
        <a:spcPct val="0"/>
      </a:spcAft>
      <a:defRPr sz="1700" kern="1200">
        <a:solidFill>
          <a:schemeClr val="tx1"/>
        </a:solidFill>
        <a:latin typeface="Times New Roman" panose="02020603050405020304" pitchFamily="18" charset="0"/>
        <a:ea typeface="+mn-ea"/>
        <a:cs typeface="Arial" panose="020B0604020202020204" pitchFamily="34" charset="0"/>
      </a:defRPr>
    </a:lvl1pPr>
    <a:lvl2pPr marL="468313" indent="-11113" algn="l" defTabSz="938213" rtl="0" eaLnBrk="0" fontAlgn="base" hangingPunct="0">
      <a:spcBef>
        <a:spcPct val="0"/>
      </a:spcBef>
      <a:spcAft>
        <a:spcPct val="0"/>
      </a:spcAft>
      <a:defRPr sz="1700" kern="1200">
        <a:solidFill>
          <a:schemeClr val="tx1"/>
        </a:solidFill>
        <a:latin typeface="Times New Roman" panose="02020603050405020304" pitchFamily="18" charset="0"/>
        <a:ea typeface="+mn-ea"/>
        <a:cs typeface="Arial" panose="020B0604020202020204" pitchFamily="34" charset="0"/>
      </a:defRPr>
    </a:lvl2pPr>
    <a:lvl3pPr marL="938213" indent="-23813" algn="l" defTabSz="938213" rtl="0" eaLnBrk="0" fontAlgn="base" hangingPunct="0">
      <a:spcBef>
        <a:spcPct val="0"/>
      </a:spcBef>
      <a:spcAft>
        <a:spcPct val="0"/>
      </a:spcAft>
      <a:defRPr sz="1700" kern="1200">
        <a:solidFill>
          <a:schemeClr val="tx1"/>
        </a:solidFill>
        <a:latin typeface="Times New Roman" panose="02020603050405020304" pitchFamily="18" charset="0"/>
        <a:ea typeface="+mn-ea"/>
        <a:cs typeface="Arial" panose="020B0604020202020204" pitchFamily="34" charset="0"/>
      </a:defRPr>
    </a:lvl3pPr>
    <a:lvl4pPr marL="1408113" indent="-36513" algn="l" defTabSz="938213" rtl="0" eaLnBrk="0" fontAlgn="base" hangingPunct="0">
      <a:spcBef>
        <a:spcPct val="0"/>
      </a:spcBef>
      <a:spcAft>
        <a:spcPct val="0"/>
      </a:spcAft>
      <a:defRPr sz="1700" kern="1200">
        <a:solidFill>
          <a:schemeClr val="tx1"/>
        </a:solidFill>
        <a:latin typeface="Times New Roman" panose="02020603050405020304" pitchFamily="18" charset="0"/>
        <a:ea typeface="+mn-ea"/>
        <a:cs typeface="Arial" panose="020B0604020202020204" pitchFamily="34" charset="0"/>
      </a:defRPr>
    </a:lvl4pPr>
    <a:lvl5pPr marL="1878013" indent="-49213" algn="l" defTabSz="938213" rtl="0" eaLnBrk="0" fontAlgn="base" hangingPunct="0">
      <a:spcBef>
        <a:spcPct val="0"/>
      </a:spcBef>
      <a:spcAft>
        <a:spcPct val="0"/>
      </a:spcAft>
      <a:defRPr sz="1700" kern="1200">
        <a:solidFill>
          <a:schemeClr val="tx1"/>
        </a:solidFill>
        <a:latin typeface="Times New Roman" panose="02020603050405020304" pitchFamily="18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sz="1700" kern="1200">
        <a:solidFill>
          <a:schemeClr val="tx1"/>
        </a:solidFill>
        <a:latin typeface="Times New Roman" panose="02020603050405020304" pitchFamily="18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sz="1700" kern="1200">
        <a:solidFill>
          <a:schemeClr val="tx1"/>
        </a:solidFill>
        <a:latin typeface="Times New Roman" panose="02020603050405020304" pitchFamily="18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sz="1700" kern="1200">
        <a:solidFill>
          <a:schemeClr val="tx1"/>
        </a:solidFill>
        <a:latin typeface="Times New Roman" panose="02020603050405020304" pitchFamily="18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sz="1700" kern="1200">
        <a:solidFill>
          <a:schemeClr val="tx1"/>
        </a:solidFill>
        <a:latin typeface="Times New Roman" panose="02020603050405020304" pitchFamily="18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84557" autoAdjust="0"/>
  </p:normalViewPr>
  <p:slideViewPr>
    <p:cSldViewPr snapToGrid="0" snapToObjects="1">
      <p:cViewPr varScale="1">
        <p:scale>
          <a:sx n="90" d="100"/>
          <a:sy n="90" d="100"/>
        </p:scale>
        <p:origin x="2214" y="84"/>
      </p:cViewPr>
      <p:guideLst>
        <p:guide orient="horz" pos="216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lv-LV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1" i="0" u="none" strike="noStrike" kern="1200" cap="all" spc="120" normalizeH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lv-LV"/>
        </a:p>
      </c:txPr>
    </c:title>
    <c:autoTitleDeleted val="0"/>
    <c:plotArea>
      <c:layout>
        <c:manualLayout>
          <c:layoutTarget val="inner"/>
          <c:xMode val="edge"/>
          <c:yMode val="edge"/>
          <c:x val="5.9317457840873139E-2"/>
          <c:y val="0.11597625492125985"/>
          <c:w val="0.90492175196850388"/>
          <c:h val="0.7269548878111508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apa1!$B$1</c:f>
              <c:strCache>
                <c:ptCount val="1"/>
                <c:pt idx="0">
                  <c:v>Prakšu skaits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2000" b="1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lv-LV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Lapa1!$A$2:$A$7</c:f>
              <c:strCache>
                <c:ptCount val="6"/>
                <c:pt idx="0">
                  <c:v>līdz 3, 6 %</c:v>
                </c:pt>
                <c:pt idx="1">
                  <c:v>3,6-5%</c:v>
                </c:pt>
                <c:pt idx="2">
                  <c:v>5-9%</c:v>
                </c:pt>
                <c:pt idx="3">
                  <c:v>10-14 %</c:v>
                </c:pt>
                <c:pt idx="4">
                  <c:v>15-19%</c:v>
                </c:pt>
                <c:pt idx="5">
                  <c:v>20% un vairāk </c:v>
                </c:pt>
              </c:strCache>
            </c:strRef>
          </c:cat>
          <c:val>
            <c:numRef>
              <c:f>Lapa1!$B$2:$B$7</c:f>
              <c:numCache>
                <c:formatCode>General</c:formatCode>
                <c:ptCount val="6"/>
                <c:pt idx="0">
                  <c:v>696</c:v>
                </c:pt>
                <c:pt idx="1">
                  <c:v>208</c:v>
                </c:pt>
                <c:pt idx="2">
                  <c:v>256</c:v>
                </c:pt>
                <c:pt idx="3">
                  <c:v>47</c:v>
                </c:pt>
                <c:pt idx="4">
                  <c:v>13</c:v>
                </c:pt>
                <c:pt idx="5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619-452D-942F-9FE75BFC8B72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444"/>
        <c:overlap val="-90"/>
        <c:axId val="1757283792"/>
        <c:axId val="1757288784"/>
      </c:barChart>
      <c:catAx>
        <c:axId val="175728379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lv-LV"/>
          </a:p>
        </c:txPr>
        <c:crossAx val="1757288784"/>
        <c:crosses val="autoZero"/>
        <c:auto val="1"/>
        <c:lblAlgn val="ctr"/>
        <c:lblOffset val="100"/>
        <c:noMultiLvlLbl val="0"/>
      </c:catAx>
      <c:valAx>
        <c:axId val="175728878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7572837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lv-LV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1064" b="0" i="0" u="none" strike="noStrike" kern="1200" baseline="0"/>
    <cs:bodyPr rot="-5400000" spcFirstLastPara="1" vertOverflow="clip" horzOverflow="clip" vert="horz" wrap="square" lIns="38100" tIns="19050" rIns="38100" bIns="19050" anchor="ctr" anchorCtr="1">
      <a:spAutoFit/>
    </cs:bodyPr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B38D36F-9E00-0BB6-88AD-0E39195D96A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defTabSz="939575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lv-LV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BA1A860-D11F-8AEB-0A95-D114FC45FAC2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defTabSz="939575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944B50BA-9149-4A16-9851-A4939A35FB68}" type="datetimeFigureOut">
              <a:rPr lang="lv-LV"/>
              <a:pPr>
                <a:defRPr/>
              </a:pPr>
              <a:t>29.12.2022</a:t>
            </a:fld>
            <a:endParaRPr lang="lv-LV"/>
          </a:p>
        </p:txBody>
      </p:sp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3A286A2A-5F41-3A84-157B-C4FAF5F885A1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lv-LV" noProof="0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90A6CA95-4F57-75AD-79CB-51EA8493F30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lv-LV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38EAADE-276A-F5A2-F42F-9F13BA22A660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defTabSz="939575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lv-LV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877D91-5AA8-40A4-913D-5E0DA712D26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fld id="{25A861C4-6D48-472E-B0F1-180AB3FA01B4}" type="slidenum">
              <a:rPr lang="lv-LV" altLang="en-US"/>
              <a:pPr>
                <a:defRPr/>
              </a:pPr>
              <a:t>‹#›</a:t>
            </a:fld>
            <a:endParaRPr lang="lv-LV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defTabSz="93821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68313" algn="l" defTabSz="93821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38213" algn="l" defTabSz="93821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408113" algn="l" defTabSz="93821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78013" algn="l" defTabSz="93821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348940" algn="l" defTabSz="93957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818729" algn="l" defTabSz="93957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88515" algn="l" defTabSz="93957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758305" algn="l" defTabSz="93957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ida attēla vietturi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iezīmju vietturi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v-LV" dirty="0"/>
          </a:p>
        </p:txBody>
      </p:sp>
      <p:sp>
        <p:nvSpPr>
          <p:cNvPr id="4" name="Slaida numura vietturis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25A861C4-6D48-472E-B0F1-180AB3FA01B4}" type="slidenum">
              <a:rPr lang="lv-LV" altLang="en-US" smtClean="0"/>
              <a:pPr>
                <a:defRPr/>
              </a:pPr>
              <a:t>1</a:t>
            </a:fld>
            <a:endParaRPr lang="lv-LV" altLang="en-US"/>
          </a:p>
        </p:txBody>
      </p:sp>
    </p:spTree>
    <p:extLst>
      <p:ext uri="{BB962C8B-B14F-4D97-AF65-F5344CB8AC3E}">
        <p14:creationId xmlns:p14="http://schemas.microsoft.com/office/powerpoint/2010/main" val="21073869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Slide Image Placeholder 1">
            <a:extLst>
              <a:ext uri="{FF2B5EF4-FFF2-40B4-BE49-F238E27FC236}">
                <a16:creationId xmlns:a16="http://schemas.microsoft.com/office/drawing/2014/main" id="{EDC06984-1EC4-4FA8-9812-802316670183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7411" name="Notes Placeholder 2">
            <a:extLst>
              <a:ext uri="{FF2B5EF4-FFF2-40B4-BE49-F238E27FC236}">
                <a16:creationId xmlns:a16="http://schemas.microsoft.com/office/drawing/2014/main" id="{F7CE93A8-FAE5-2E28-C6B4-EBC50B113A00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lv-LV" dirty="0"/>
          </a:p>
        </p:txBody>
      </p:sp>
      <p:sp>
        <p:nvSpPr>
          <p:cNvPr id="17412" name="Slide Number Placeholder 3">
            <a:extLst>
              <a:ext uri="{FF2B5EF4-FFF2-40B4-BE49-F238E27FC236}">
                <a16:creationId xmlns:a16="http://schemas.microsoft.com/office/drawing/2014/main" id="{E094869B-182A-B556-D311-D7A790E7A673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72E4BDC5-C711-4267-BA9E-9B75C1A420E2}" type="slidenum">
              <a:rPr lang="en-US" altLang="lv-LV" smtClean="0"/>
              <a:pPr/>
              <a:t>2</a:t>
            </a:fld>
            <a:endParaRPr lang="en-US" altLang="lv-LV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6">
            <a:extLst>
              <a:ext uri="{FF2B5EF4-FFF2-40B4-BE49-F238E27FC236}">
                <a16:creationId xmlns:a16="http://schemas.microsoft.com/office/drawing/2014/main" id="{C146594C-F9E8-058A-5B0A-FCB1D873E11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2875" y="0"/>
            <a:ext cx="3778250" cy="416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7">
            <a:extLst>
              <a:ext uri="{FF2B5EF4-FFF2-40B4-BE49-F238E27FC236}">
                <a16:creationId xmlns:a16="http://schemas.microsoft.com/office/drawing/2014/main" id="{3C859C00-7AA3-EC6E-BBDC-79380D955E4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621463"/>
            <a:ext cx="9144000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61355DE7-502A-C270-17FF-DDCF8555D083}"/>
              </a:ext>
            </a:extLst>
          </p:cNvPr>
          <p:cNvSpPr txBox="1">
            <a:spLocks/>
          </p:cNvSpPr>
          <p:nvPr userDrawn="1"/>
        </p:nvSpPr>
        <p:spPr>
          <a:xfrm>
            <a:off x="685800" y="4724400"/>
            <a:ext cx="7772400" cy="1036638"/>
          </a:xfrm>
          <a:prstGeom prst="rect">
            <a:avLst/>
          </a:prstGeom>
        </p:spPr>
        <p:txBody>
          <a:bodyPr lIns="93957" tIns="46979" rIns="93957" bIns="46979">
            <a:normAutofit/>
          </a:bodyPr>
          <a:lstStyle>
            <a:lvl1pPr algn="l" defTabSz="939575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defRPr>
            </a:lvl1pPr>
          </a:lstStyle>
          <a:p>
            <a:pPr algn="ctr" fontAlgn="auto">
              <a:spcAft>
                <a:spcPts val="0"/>
              </a:spcAft>
              <a:defRPr/>
            </a:pPr>
            <a:endParaRPr lang="lv-LV" sz="1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685800" y="3505200"/>
            <a:ext cx="7772400" cy="960442"/>
          </a:xfrm>
        </p:spPr>
        <p:txBody>
          <a:bodyPr anchor="t">
            <a:normAutofit/>
          </a:bodyPr>
          <a:lstStyle>
            <a:lvl1pPr algn="ctr">
              <a:defRPr sz="3200" b="1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0"/>
          </p:nvPr>
        </p:nvSpPr>
        <p:spPr>
          <a:xfrm>
            <a:off x="685800" y="4724400"/>
            <a:ext cx="7772400" cy="914400"/>
          </a:xfrm>
        </p:spPr>
        <p:txBody>
          <a:bodyPr>
            <a:normAutofit/>
          </a:bodyPr>
          <a:lstStyle>
            <a:lvl1pPr marL="0" indent="0" algn="ctr">
              <a:buNone/>
              <a:defRPr sz="140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1"/>
          </p:nvPr>
        </p:nvSpPr>
        <p:spPr>
          <a:xfrm>
            <a:off x="685800" y="5761038"/>
            <a:ext cx="7772400" cy="639762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65972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>
            <a:extLst>
              <a:ext uri="{FF2B5EF4-FFF2-40B4-BE49-F238E27FC236}">
                <a16:creationId xmlns:a16="http://schemas.microsoft.com/office/drawing/2014/main" id="{F83B45C6-CBD8-83EF-624C-F420D25DFD2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6863" y="0"/>
            <a:ext cx="1760537" cy="1957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90800" y="381000"/>
            <a:ext cx="6096000" cy="1036642"/>
          </a:xfrm>
        </p:spPr>
        <p:txBody>
          <a:bodyPr anchor="t">
            <a:normAutofit/>
          </a:bodyPr>
          <a:lstStyle>
            <a:lvl1pPr algn="l">
              <a:defRPr sz="24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90800" y="1752600"/>
            <a:ext cx="6096000" cy="4373573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2000"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 sz="2000"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 sz="2000"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 sz="2000"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15"/>
          <p:cNvSpPr>
            <a:spLocks noGrp="1"/>
          </p:cNvSpPr>
          <p:nvPr>
            <p:ph type="body" sz="quarter" idx="10"/>
          </p:nvPr>
        </p:nvSpPr>
        <p:spPr>
          <a:xfrm>
            <a:off x="2590800" y="6324600"/>
            <a:ext cx="1981200" cy="304800"/>
          </a:xfrm>
        </p:spPr>
        <p:txBody>
          <a:bodyPr>
            <a:normAutofit/>
          </a:bodyPr>
          <a:lstStyle>
            <a:lvl1pPr marL="0" indent="0">
              <a:buNone/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19"/>
          <p:cNvSpPr>
            <a:spLocks noGrp="1"/>
          </p:cNvSpPr>
          <p:nvPr>
            <p:ph type="body" sz="quarter" idx="12"/>
          </p:nvPr>
        </p:nvSpPr>
        <p:spPr>
          <a:xfrm>
            <a:off x="4876800" y="6324600"/>
            <a:ext cx="3657600" cy="304800"/>
          </a:xfrm>
        </p:spPr>
        <p:txBody>
          <a:bodyPr>
            <a:normAutofit/>
          </a:bodyPr>
          <a:lstStyle>
            <a:lvl1pPr marL="0" indent="0" algn="r">
              <a:buNone/>
              <a:defRPr sz="100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22">
            <a:extLst>
              <a:ext uri="{FF2B5EF4-FFF2-40B4-BE49-F238E27FC236}">
                <a16:creationId xmlns:a16="http://schemas.microsoft.com/office/drawing/2014/main" id="{7AB72E9E-17B0-ED31-798A-10C7FF59C2F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8534400" y="6324600"/>
            <a:ext cx="304800" cy="304800"/>
          </a:xfrm>
        </p:spPr>
        <p:txBody>
          <a:bodyPr/>
          <a:lstStyle>
            <a:lvl1pPr>
              <a:defRPr sz="1000">
                <a:latin typeface="Verdana" panose="020B0604030504040204" pitchFamily="34" charset="0"/>
              </a:defRPr>
            </a:lvl1pPr>
          </a:lstStyle>
          <a:p>
            <a:pPr>
              <a:defRPr/>
            </a:pPr>
            <a:fld id="{C7FB64B8-8415-4D07-B1AF-D9FC1935312F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618904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>
            <a:extLst>
              <a:ext uri="{FF2B5EF4-FFF2-40B4-BE49-F238E27FC236}">
                <a16:creationId xmlns:a16="http://schemas.microsoft.com/office/drawing/2014/main" id="{BF14CE35-C716-ECDD-338F-1AC2A1E7A54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6863" y="0"/>
            <a:ext cx="1760537" cy="1957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90800" y="3657600"/>
            <a:ext cx="6096000" cy="1384295"/>
          </a:xfrm>
        </p:spPr>
        <p:txBody>
          <a:bodyPr anchor="t">
            <a:normAutofit/>
          </a:bodyPr>
          <a:lstStyle>
            <a:lvl1pPr algn="l">
              <a:defRPr sz="2400" b="1" cap="none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90800" y="381000"/>
            <a:ext cx="6096000" cy="3276600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69788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2pPr>
            <a:lvl3pPr marL="93957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40936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7915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3489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81872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8851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75830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10"/>
          </p:nvPr>
        </p:nvSpPr>
        <p:spPr>
          <a:xfrm>
            <a:off x="2590800" y="6324600"/>
            <a:ext cx="1981200" cy="304800"/>
          </a:xfrm>
        </p:spPr>
        <p:txBody>
          <a:bodyPr>
            <a:normAutofit/>
          </a:bodyPr>
          <a:lstStyle>
            <a:lvl1pPr marL="0" indent="0">
              <a:buNone/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9"/>
          <p:cNvSpPr>
            <a:spLocks noGrp="1"/>
          </p:cNvSpPr>
          <p:nvPr>
            <p:ph type="body" sz="quarter" idx="12"/>
          </p:nvPr>
        </p:nvSpPr>
        <p:spPr>
          <a:xfrm>
            <a:off x="4876800" y="6324600"/>
            <a:ext cx="3657600" cy="304800"/>
          </a:xfrm>
        </p:spPr>
        <p:txBody>
          <a:bodyPr>
            <a:normAutofit/>
          </a:bodyPr>
          <a:lstStyle>
            <a:lvl1pPr marL="0" indent="0" algn="r">
              <a:buNone/>
              <a:defRPr sz="100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22">
            <a:extLst>
              <a:ext uri="{FF2B5EF4-FFF2-40B4-BE49-F238E27FC236}">
                <a16:creationId xmlns:a16="http://schemas.microsoft.com/office/drawing/2014/main" id="{42E02400-9779-3808-7B15-70637D88DFB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8534400" y="6324600"/>
            <a:ext cx="304800" cy="304800"/>
          </a:xfrm>
        </p:spPr>
        <p:txBody>
          <a:bodyPr/>
          <a:lstStyle>
            <a:lvl1pPr>
              <a:defRPr sz="1000">
                <a:latin typeface="Verdana" panose="020B0604030504040204" pitchFamily="34" charset="0"/>
              </a:defRPr>
            </a:lvl1pPr>
          </a:lstStyle>
          <a:p>
            <a:pPr>
              <a:defRPr/>
            </a:pPr>
            <a:fld id="{F6033430-3BAC-498C-8B14-4E2141F61FA9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2149362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>
            <a:extLst>
              <a:ext uri="{FF2B5EF4-FFF2-40B4-BE49-F238E27FC236}">
                <a16:creationId xmlns:a16="http://schemas.microsoft.com/office/drawing/2014/main" id="{E66B552F-90E0-9BBD-D1DB-921C3A76356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6863" y="0"/>
            <a:ext cx="1760537" cy="1957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90800" y="304801"/>
            <a:ext cx="6096000" cy="1066799"/>
          </a:xfrm>
        </p:spPr>
        <p:txBody>
          <a:bodyPr anchor="t">
            <a:normAutofit/>
          </a:bodyPr>
          <a:lstStyle>
            <a:lvl1pPr algn="l">
              <a:defRPr sz="24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90800" y="1752600"/>
            <a:ext cx="2895600" cy="4373565"/>
          </a:xfrm>
        </p:spPr>
        <p:txBody>
          <a:bodyPr>
            <a:normAutofit/>
          </a:bodyPr>
          <a:lstStyle>
            <a:lvl1pPr>
              <a:defRPr sz="2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2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2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2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2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715000" y="1752600"/>
            <a:ext cx="2971800" cy="4373573"/>
          </a:xfrm>
        </p:spPr>
        <p:txBody>
          <a:bodyPr>
            <a:normAutofit/>
          </a:bodyPr>
          <a:lstStyle>
            <a:lvl1pPr>
              <a:defRPr sz="2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2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2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2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2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15"/>
          <p:cNvSpPr>
            <a:spLocks noGrp="1"/>
          </p:cNvSpPr>
          <p:nvPr>
            <p:ph type="body" sz="quarter" idx="10"/>
          </p:nvPr>
        </p:nvSpPr>
        <p:spPr>
          <a:xfrm>
            <a:off x="2590800" y="6324600"/>
            <a:ext cx="1981200" cy="304800"/>
          </a:xfrm>
        </p:spPr>
        <p:txBody>
          <a:bodyPr>
            <a:normAutofit/>
          </a:bodyPr>
          <a:lstStyle>
            <a:lvl1pPr marL="0" indent="0">
              <a:buNone/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9"/>
          <p:cNvSpPr>
            <a:spLocks noGrp="1"/>
          </p:cNvSpPr>
          <p:nvPr>
            <p:ph type="body" sz="quarter" idx="12"/>
          </p:nvPr>
        </p:nvSpPr>
        <p:spPr>
          <a:xfrm>
            <a:off x="4876800" y="6324600"/>
            <a:ext cx="3657600" cy="304800"/>
          </a:xfrm>
        </p:spPr>
        <p:txBody>
          <a:bodyPr>
            <a:normAutofit/>
          </a:bodyPr>
          <a:lstStyle>
            <a:lvl1pPr marL="0" indent="0" algn="r">
              <a:buNone/>
              <a:defRPr sz="100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22">
            <a:extLst>
              <a:ext uri="{FF2B5EF4-FFF2-40B4-BE49-F238E27FC236}">
                <a16:creationId xmlns:a16="http://schemas.microsoft.com/office/drawing/2014/main" id="{69563E37-B274-55E4-D417-E14144BCAEC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8534400" y="6324600"/>
            <a:ext cx="304800" cy="304800"/>
          </a:xfrm>
        </p:spPr>
        <p:txBody>
          <a:bodyPr/>
          <a:lstStyle>
            <a:lvl1pPr>
              <a:defRPr sz="1000">
                <a:latin typeface="Verdana" panose="020B0604030504040204" pitchFamily="34" charset="0"/>
              </a:defRPr>
            </a:lvl1pPr>
          </a:lstStyle>
          <a:p>
            <a:pPr>
              <a:defRPr/>
            </a:pPr>
            <a:fld id="{183EA5BC-D108-4CCD-8133-F296C25ADDB5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05608705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6">
            <a:extLst>
              <a:ext uri="{FF2B5EF4-FFF2-40B4-BE49-F238E27FC236}">
                <a16:creationId xmlns:a16="http://schemas.microsoft.com/office/drawing/2014/main" id="{221653E5-7C02-5389-957B-7DA5DA97BB4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6863" y="0"/>
            <a:ext cx="1760537" cy="1957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2590800" y="304801"/>
            <a:ext cx="6096000" cy="1066799"/>
          </a:xfrm>
        </p:spPr>
        <p:txBody>
          <a:bodyPr anchor="t">
            <a:normAutofit/>
          </a:bodyPr>
          <a:lstStyle>
            <a:lvl1pPr algn="l">
              <a:defRPr sz="24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Content Placeholder 2"/>
          <p:cNvSpPr>
            <a:spLocks noGrp="1"/>
          </p:cNvSpPr>
          <p:nvPr>
            <p:ph sz="half" idx="1"/>
          </p:nvPr>
        </p:nvSpPr>
        <p:spPr>
          <a:xfrm>
            <a:off x="2590800" y="2386940"/>
            <a:ext cx="2895600" cy="3739225"/>
          </a:xfrm>
        </p:spPr>
        <p:txBody>
          <a:bodyPr>
            <a:normAutofit/>
          </a:bodyPr>
          <a:lstStyle>
            <a:lvl1pPr>
              <a:defRPr sz="2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2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2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2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2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3"/>
          <p:cNvSpPr>
            <a:spLocks noGrp="1"/>
          </p:cNvSpPr>
          <p:nvPr>
            <p:ph sz="half" idx="2"/>
          </p:nvPr>
        </p:nvSpPr>
        <p:spPr>
          <a:xfrm>
            <a:off x="5715000" y="2386940"/>
            <a:ext cx="2971800" cy="3739233"/>
          </a:xfrm>
        </p:spPr>
        <p:txBody>
          <a:bodyPr>
            <a:normAutofit/>
          </a:bodyPr>
          <a:lstStyle>
            <a:lvl1pPr>
              <a:defRPr sz="2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2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2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2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2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6"/>
          </p:nvPr>
        </p:nvSpPr>
        <p:spPr>
          <a:xfrm>
            <a:off x="2590800" y="1852613"/>
            <a:ext cx="2895600" cy="534987"/>
          </a:xfrm>
        </p:spPr>
        <p:txBody>
          <a:bodyPr>
            <a:normAutofit/>
          </a:bodyPr>
          <a:lstStyle>
            <a:lvl1pPr marL="0" indent="0">
              <a:buNone/>
              <a:defRPr sz="20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17"/>
          </p:nvPr>
        </p:nvSpPr>
        <p:spPr>
          <a:xfrm>
            <a:off x="5715000" y="1851953"/>
            <a:ext cx="2971800" cy="534987"/>
          </a:xfrm>
        </p:spPr>
        <p:txBody>
          <a:bodyPr>
            <a:normAutofit/>
          </a:bodyPr>
          <a:lstStyle>
            <a:lvl1pPr marL="0" indent="0">
              <a:buNone/>
              <a:defRPr sz="20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5"/>
          <p:cNvSpPr>
            <a:spLocks noGrp="1"/>
          </p:cNvSpPr>
          <p:nvPr>
            <p:ph type="body" sz="quarter" idx="10"/>
          </p:nvPr>
        </p:nvSpPr>
        <p:spPr>
          <a:xfrm>
            <a:off x="2590800" y="6324600"/>
            <a:ext cx="1981200" cy="304800"/>
          </a:xfrm>
        </p:spPr>
        <p:txBody>
          <a:bodyPr>
            <a:normAutofit/>
          </a:bodyPr>
          <a:lstStyle>
            <a:lvl1pPr marL="0" indent="0">
              <a:buNone/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9"/>
          <p:cNvSpPr>
            <a:spLocks noGrp="1"/>
          </p:cNvSpPr>
          <p:nvPr>
            <p:ph type="body" sz="quarter" idx="12"/>
          </p:nvPr>
        </p:nvSpPr>
        <p:spPr>
          <a:xfrm>
            <a:off x="4876800" y="6324600"/>
            <a:ext cx="3657600" cy="304800"/>
          </a:xfrm>
        </p:spPr>
        <p:txBody>
          <a:bodyPr>
            <a:normAutofit/>
          </a:bodyPr>
          <a:lstStyle>
            <a:lvl1pPr marL="0" indent="0" algn="r">
              <a:buNone/>
              <a:defRPr sz="100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2">
            <a:extLst>
              <a:ext uri="{FF2B5EF4-FFF2-40B4-BE49-F238E27FC236}">
                <a16:creationId xmlns:a16="http://schemas.microsoft.com/office/drawing/2014/main" id="{6A7EBBAE-C198-D018-BCCD-0BD9D718099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8534400" y="6324600"/>
            <a:ext cx="304800" cy="304800"/>
          </a:xfrm>
        </p:spPr>
        <p:txBody>
          <a:bodyPr/>
          <a:lstStyle>
            <a:lvl1pPr>
              <a:defRPr sz="1000">
                <a:latin typeface="Verdana" panose="020B0604030504040204" pitchFamily="34" charset="0"/>
              </a:defRPr>
            </a:lvl1pPr>
          </a:lstStyle>
          <a:p>
            <a:pPr>
              <a:defRPr/>
            </a:pPr>
            <a:fld id="{72DF7868-AFEE-4A4B-8B6E-57017561968A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7609677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6">
            <a:extLst>
              <a:ext uri="{FF2B5EF4-FFF2-40B4-BE49-F238E27FC236}">
                <a16:creationId xmlns:a16="http://schemas.microsoft.com/office/drawing/2014/main" id="{6B62CD5E-ED48-6009-5ECB-B8AA29D61B4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6863" y="0"/>
            <a:ext cx="1760537" cy="1957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2590800" y="304801"/>
            <a:ext cx="6096000" cy="1066799"/>
          </a:xfrm>
        </p:spPr>
        <p:txBody>
          <a:bodyPr anchor="t">
            <a:normAutofit/>
          </a:bodyPr>
          <a:lstStyle>
            <a:lvl1pPr algn="l">
              <a:defRPr sz="24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0"/>
          </p:nvPr>
        </p:nvSpPr>
        <p:spPr>
          <a:xfrm>
            <a:off x="2590800" y="6324600"/>
            <a:ext cx="1981200" cy="304800"/>
          </a:xfrm>
        </p:spPr>
        <p:txBody>
          <a:bodyPr>
            <a:normAutofit/>
          </a:bodyPr>
          <a:lstStyle>
            <a:lvl1pPr marL="0" indent="0">
              <a:buNone/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9"/>
          <p:cNvSpPr>
            <a:spLocks noGrp="1"/>
          </p:cNvSpPr>
          <p:nvPr>
            <p:ph type="body" sz="quarter" idx="12"/>
          </p:nvPr>
        </p:nvSpPr>
        <p:spPr>
          <a:xfrm>
            <a:off x="4876800" y="6324600"/>
            <a:ext cx="3657600" cy="304800"/>
          </a:xfrm>
        </p:spPr>
        <p:txBody>
          <a:bodyPr>
            <a:normAutofit/>
          </a:bodyPr>
          <a:lstStyle>
            <a:lvl1pPr marL="0" indent="0" algn="r">
              <a:buNone/>
              <a:defRPr sz="100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2">
            <a:extLst>
              <a:ext uri="{FF2B5EF4-FFF2-40B4-BE49-F238E27FC236}">
                <a16:creationId xmlns:a16="http://schemas.microsoft.com/office/drawing/2014/main" id="{BE7A8ADF-06EF-FA30-7EEE-61E63107ECC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8534400" y="6324600"/>
            <a:ext cx="304800" cy="304800"/>
          </a:xfrm>
        </p:spPr>
        <p:txBody>
          <a:bodyPr/>
          <a:lstStyle>
            <a:lvl1pPr>
              <a:defRPr sz="1000">
                <a:latin typeface="Verdana" panose="020B0604030504040204" pitchFamily="34" charset="0"/>
              </a:defRPr>
            </a:lvl1pPr>
          </a:lstStyle>
          <a:p>
            <a:pPr>
              <a:defRPr/>
            </a:pPr>
            <a:fld id="{E342D054-3A02-46DA-B2C6-F3BE990AC379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065955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6">
            <a:extLst>
              <a:ext uri="{FF2B5EF4-FFF2-40B4-BE49-F238E27FC236}">
                <a16:creationId xmlns:a16="http://schemas.microsoft.com/office/drawing/2014/main" id="{8D47EA97-94F7-8256-4A94-DBB232D6B66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6863" y="0"/>
            <a:ext cx="1760537" cy="1957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Placeholder 15"/>
          <p:cNvSpPr>
            <a:spLocks noGrp="1"/>
          </p:cNvSpPr>
          <p:nvPr>
            <p:ph type="body" sz="quarter" idx="10"/>
          </p:nvPr>
        </p:nvSpPr>
        <p:spPr>
          <a:xfrm>
            <a:off x="2590800" y="6324600"/>
            <a:ext cx="1981200" cy="304800"/>
          </a:xfrm>
        </p:spPr>
        <p:txBody>
          <a:bodyPr>
            <a:normAutofit/>
          </a:bodyPr>
          <a:lstStyle>
            <a:lvl1pPr marL="0" indent="0">
              <a:buNone/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19"/>
          <p:cNvSpPr>
            <a:spLocks noGrp="1"/>
          </p:cNvSpPr>
          <p:nvPr>
            <p:ph type="body" sz="quarter" idx="12"/>
          </p:nvPr>
        </p:nvSpPr>
        <p:spPr>
          <a:xfrm>
            <a:off x="4876800" y="6324600"/>
            <a:ext cx="3657600" cy="304800"/>
          </a:xfrm>
        </p:spPr>
        <p:txBody>
          <a:bodyPr>
            <a:normAutofit/>
          </a:bodyPr>
          <a:lstStyle>
            <a:lvl1pPr marL="0" indent="0" algn="r">
              <a:buNone/>
              <a:defRPr sz="100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2">
            <a:extLst>
              <a:ext uri="{FF2B5EF4-FFF2-40B4-BE49-F238E27FC236}">
                <a16:creationId xmlns:a16="http://schemas.microsoft.com/office/drawing/2014/main" id="{C0DA4572-A860-028E-75CF-103753D4A69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8534400" y="6324600"/>
            <a:ext cx="304800" cy="304800"/>
          </a:xfrm>
        </p:spPr>
        <p:txBody>
          <a:bodyPr/>
          <a:lstStyle>
            <a:lvl1pPr>
              <a:defRPr sz="1000">
                <a:latin typeface="Verdana" panose="020B0604030504040204" pitchFamily="34" charset="0"/>
              </a:defRPr>
            </a:lvl1pPr>
          </a:lstStyle>
          <a:p>
            <a:pPr>
              <a:defRPr/>
            </a:pPr>
            <a:fld id="{C2778223-9357-4CBC-B014-6B69968FCE50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09836406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>
            <a:extLst>
              <a:ext uri="{FF2B5EF4-FFF2-40B4-BE49-F238E27FC236}">
                <a16:creationId xmlns:a16="http://schemas.microsoft.com/office/drawing/2014/main" id="{AE7167AE-5504-8D07-CE0F-0204213C35B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6863" y="0"/>
            <a:ext cx="1760537" cy="1957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90800" y="272975"/>
            <a:ext cx="2751026" cy="1162051"/>
          </a:xfrm>
        </p:spPr>
        <p:txBody>
          <a:bodyPr anchor="t">
            <a:normAutofit/>
          </a:bodyPr>
          <a:lstStyle>
            <a:lvl1pPr algn="l">
              <a:defRPr sz="24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69527" y="273054"/>
            <a:ext cx="3269672" cy="5853128"/>
          </a:xfrm>
        </p:spPr>
        <p:txBody>
          <a:bodyPr>
            <a:normAutofit/>
          </a:bodyPr>
          <a:lstStyle>
            <a:lvl1pPr>
              <a:defRPr sz="2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2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2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2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2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90800" y="1435119"/>
            <a:ext cx="2751026" cy="4691063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69788" indent="0">
              <a:buNone/>
              <a:defRPr sz="1200"/>
            </a:lvl2pPr>
            <a:lvl3pPr marL="939575" indent="0">
              <a:buNone/>
              <a:defRPr sz="1000"/>
            </a:lvl3pPr>
            <a:lvl4pPr marL="1409365" indent="0">
              <a:buNone/>
              <a:defRPr sz="1000"/>
            </a:lvl4pPr>
            <a:lvl5pPr marL="1879152" indent="0">
              <a:buNone/>
              <a:defRPr sz="1000"/>
            </a:lvl5pPr>
            <a:lvl6pPr marL="2348940" indent="0">
              <a:buNone/>
              <a:defRPr sz="1000"/>
            </a:lvl6pPr>
            <a:lvl7pPr marL="2818729" indent="0">
              <a:buNone/>
              <a:defRPr sz="1000"/>
            </a:lvl7pPr>
            <a:lvl8pPr marL="3288515" indent="0">
              <a:buNone/>
              <a:defRPr sz="1000"/>
            </a:lvl8pPr>
            <a:lvl9pPr marL="3758305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0"/>
          </p:nvPr>
        </p:nvSpPr>
        <p:spPr>
          <a:xfrm>
            <a:off x="2590800" y="6324600"/>
            <a:ext cx="1981200" cy="304800"/>
          </a:xfrm>
        </p:spPr>
        <p:txBody>
          <a:bodyPr>
            <a:normAutofit/>
          </a:bodyPr>
          <a:lstStyle>
            <a:lvl1pPr marL="0" indent="0">
              <a:buNone/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9"/>
          <p:cNvSpPr>
            <a:spLocks noGrp="1"/>
          </p:cNvSpPr>
          <p:nvPr>
            <p:ph type="body" sz="quarter" idx="12"/>
          </p:nvPr>
        </p:nvSpPr>
        <p:spPr>
          <a:xfrm>
            <a:off x="4876800" y="6324600"/>
            <a:ext cx="3657600" cy="304800"/>
          </a:xfrm>
        </p:spPr>
        <p:txBody>
          <a:bodyPr>
            <a:normAutofit/>
          </a:bodyPr>
          <a:lstStyle>
            <a:lvl1pPr marL="0" indent="0" algn="r">
              <a:buNone/>
              <a:defRPr sz="100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22">
            <a:extLst>
              <a:ext uri="{FF2B5EF4-FFF2-40B4-BE49-F238E27FC236}">
                <a16:creationId xmlns:a16="http://schemas.microsoft.com/office/drawing/2014/main" id="{AAAC3D53-52EC-4769-8075-174AACA4701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8534400" y="6324600"/>
            <a:ext cx="304800" cy="304800"/>
          </a:xfrm>
        </p:spPr>
        <p:txBody>
          <a:bodyPr/>
          <a:lstStyle>
            <a:lvl1pPr>
              <a:defRPr sz="1000">
                <a:latin typeface="Verdana" panose="020B0604030504040204" pitchFamily="34" charset="0"/>
              </a:defRPr>
            </a:lvl1pPr>
          </a:lstStyle>
          <a:p>
            <a:pPr>
              <a:defRPr/>
            </a:pPr>
            <a:fld id="{062B4D94-78FB-4C28-AEC1-ADF1EFA73641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54537819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7">
            <a:extLst>
              <a:ext uri="{FF2B5EF4-FFF2-40B4-BE49-F238E27FC236}">
                <a16:creationId xmlns:a16="http://schemas.microsoft.com/office/drawing/2014/main" id="{ED577CB4-C8C4-6C4D-6AC0-9556BFFCE58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621463"/>
            <a:ext cx="9144000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6">
            <a:extLst>
              <a:ext uri="{FF2B5EF4-FFF2-40B4-BE49-F238E27FC236}">
                <a16:creationId xmlns:a16="http://schemas.microsoft.com/office/drawing/2014/main" id="{D71A2C61-9926-0B54-C5D0-D84D983C9A2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2875" y="0"/>
            <a:ext cx="3778250" cy="416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 Placeholder 17"/>
          <p:cNvSpPr>
            <a:spLocks noGrp="1"/>
          </p:cNvSpPr>
          <p:nvPr>
            <p:ph type="body" sz="quarter" idx="10"/>
          </p:nvPr>
        </p:nvSpPr>
        <p:spPr>
          <a:xfrm>
            <a:off x="685800" y="4724400"/>
            <a:ext cx="7772400" cy="914400"/>
          </a:xfrm>
        </p:spPr>
        <p:txBody>
          <a:bodyPr>
            <a:normAutofit/>
          </a:bodyPr>
          <a:lstStyle>
            <a:lvl1pPr marL="0" indent="0" algn="ctr">
              <a:buNone/>
              <a:defRPr sz="140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9"/>
          <p:cNvSpPr>
            <a:spLocks noGrp="1"/>
          </p:cNvSpPr>
          <p:nvPr>
            <p:ph type="body" sz="quarter" idx="11"/>
          </p:nvPr>
        </p:nvSpPr>
        <p:spPr>
          <a:xfrm>
            <a:off x="685800" y="5761038"/>
            <a:ext cx="7772400" cy="639762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479287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>
            <a:extLst>
              <a:ext uri="{FF2B5EF4-FFF2-40B4-BE49-F238E27FC236}">
                <a16:creationId xmlns:a16="http://schemas.microsoft.com/office/drawing/2014/main" id="{C646C364-ADB4-BE45-A9B1-9F5732F1C090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3957" tIns="46979" rIns="93957" bIns="46979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lv-LV"/>
              <a:t>Click to edit Master title style</a:t>
            </a:r>
          </a:p>
        </p:txBody>
      </p:sp>
      <p:sp>
        <p:nvSpPr>
          <p:cNvPr id="1027" name="Text Placeholder 2">
            <a:extLst>
              <a:ext uri="{FF2B5EF4-FFF2-40B4-BE49-F238E27FC236}">
                <a16:creationId xmlns:a16="http://schemas.microsoft.com/office/drawing/2014/main" id="{4C1E648A-1FC6-86AF-7539-54478A59FFC5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3957" tIns="46979" rIns="93957" bIns="4697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lv-LV"/>
              <a:t>Click to edit Master text styles</a:t>
            </a:r>
          </a:p>
          <a:p>
            <a:pPr lvl="1"/>
            <a:r>
              <a:rPr lang="en-US" altLang="lv-LV"/>
              <a:t>Second level</a:t>
            </a:r>
          </a:p>
          <a:p>
            <a:pPr lvl="2"/>
            <a:r>
              <a:rPr lang="en-US" altLang="lv-LV"/>
              <a:t>Third level</a:t>
            </a:r>
          </a:p>
          <a:p>
            <a:pPr lvl="3"/>
            <a:r>
              <a:rPr lang="en-US" altLang="lv-LV"/>
              <a:t>Fourth level</a:t>
            </a:r>
          </a:p>
          <a:p>
            <a:pPr lvl="4"/>
            <a:r>
              <a:rPr lang="en-US" altLang="lv-LV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4A636D-FEF6-5E44-8E4C-5DB24E7ACD3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3957" tIns="46979" rIns="93957" bIns="46979" rtlCol="0" anchor="ctr"/>
          <a:lstStyle>
            <a:lvl1pPr algn="l" defTabSz="939575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FE225760-07BF-4061-9DEF-D30C319D6887}" type="datetime1">
              <a:rPr lang="en-US"/>
              <a:pPr>
                <a:defRPr/>
              </a:pPr>
              <a:t>12/29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15C3BD7-1C7B-4A33-4B31-792CCD5F5E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3957" tIns="46979" rIns="93957" bIns="46979" rtlCol="0" anchor="ctr"/>
          <a:lstStyle>
            <a:lvl1pPr algn="ctr" defTabSz="939575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5B7E3A9-B7D5-67BF-B5CA-BE52E8BC78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3957" tIns="46979" rIns="93957" bIns="46979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898989"/>
                </a:solidFill>
              </a:defRPr>
            </a:lvl1pPr>
          </a:lstStyle>
          <a:p>
            <a:pPr>
              <a:defRPr/>
            </a:pPr>
            <a:fld id="{05D66091-A9A2-4CCB-8E39-DEC632A24B9E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37" r:id="rId1"/>
    <p:sldLayoutId id="2147483938" r:id="rId2"/>
    <p:sldLayoutId id="2147483939" r:id="rId3"/>
    <p:sldLayoutId id="2147483940" r:id="rId4"/>
    <p:sldLayoutId id="2147483941" r:id="rId5"/>
    <p:sldLayoutId id="2147483942" r:id="rId6"/>
    <p:sldLayoutId id="2147483943" r:id="rId7"/>
    <p:sldLayoutId id="2147483944" r:id="rId8"/>
    <p:sldLayoutId id="2147483945" r:id="rId9"/>
  </p:sldLayoutIdLst>
  <p:hf hdr="0" ftr="0" dt="0"/>
  <p:txStyles>
    <p:titleStyle>
      <a:lvl1pPr algn="ctr" defTabSz="938213" rtl="0" eaLnBrk="0" fontAlgn="base" hangingPunct="0">
        <a:spcBef>
          <a:spcPct val="0"/>
        </a:spcBef>
        <a:spcAft>
          <a:spcPct val="0"/>
        </a:spcAft>
        <a:defRPr sz="45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938213" rtl="0" eaLnBrk="0" fontAlgn="base" hangingPunct="0">
        <a:spcBef>
          <a:spcPct val="0"/>
        </a:spcBef>
        <a:spcAft>
          <a:spcPct val="0"/>
        </a:spcAft>
        <a:defRPr sz="4500">
          <a:solidFill>
            <a:schemeClr val="tx1"/>
          </a:solidFill>
          <a:latin typeface="Times New Roman" pitchFamily="18" charset="0"/>
        </a:defRPr>
      </a:lvl2pPr>
      <a:lvl3pPr algn="ctr" defTabSz="938213" rtl="0" eaLnBrk="0" fontAlgn="base" hangingPunct="0">
        <a:spcBef>
          <a:spcPct val="0"/>
        </a:spcBef>
        <a:spcAft>
          <a:spcPct val="0"/>
        </a:spcAft>
        <a:defRPr sz="4500">
          <a:solidFill>
            <a:schemeClr val="tx1"/>
          </a:solidFill>
          <a:latin typeface="Times New Roman" pitchFamily="18" charset="0"/>
        </a:defRPr>
      </a:lvl3pPr>
      <a:lvl4pPr algn="ctr" defTabSz="938213" rtl="0" eaLnBrk="0" fontAlgn="base" hangingPunct="0">
        <a:spcBef>
          <a:spcPct val="0"/>
        </a:spcBef>
        <a:spcAft>
          <a:spcPct val="0"/>
        </a:spcAft>
        <a:defRPr sz="4500">
          <a:solidFill>
            <a:schemeClr val="tx1"/>
          </a:solidFill>
          <a:latin typeface="Times New Roman" pitchFamily="18" charset="0"/>
        </a:defRPr>
      </a:lvl4pPr>
      <a:lvl5pPr algn="ctr" defTabSz="938213" rtl="0" eaLnBrk="0" fontAlgn="base" hangingPunct="0">
        <a:spcBef>
          <a:spcPct val="0"/>
        </a:spcBef>
        <a:spcAft>
          <a:spcPct val="0"/>
        </a:spcAft>
        <a:defRPr sz="4500">
          <a:solidFill>
            <a:schemeClr val="tx1"/>
          </a:solidFill>
          <a:latin typeface="Times New Roman" pitchFamily="18" charset="0"/>
        </a:defRPr>
      </a:lvl5pPr>
      <a:lvl6pPr marL="457200" algn="ctr" defTabSz="938213" rtl="0" eaLnBrk="1" fontAlgn="base" hangingPunct="1">
        <a:spcBef>
          <a:spcPct val="0"/>
        </a:spcBef>
        <a:spcAft>
          <a:spcPct val="0"/>
        </a:spcAft>
        <a:defRPr sz="4500">
          <a:solidFill>
            <a:schemeClr val="tx1"/>
          </a:solidFill>
          <a:latin typeface="Times New Roman" pitchFamily="18" charset="0"/>
        </a:defRPr>
      </a:lvl6pPr>
      <a:lvl7pPr marL="914400" algn="ctr" defTabSz="938213" rtl="0" eaLnBrk="1" fontAlgn="base" hangingPunct="1">
        <a:spcBef>
          <a:spcPct val="0"/>
        </a:spcBef>
        <a:spcAft>
          <a:spcPct val="0"/>
        </a:spcAft>
        <a:defRPr sz="4500">
          <a:solidFill>
            <a:schemeClr val="tx1"/>
          </a:solidFill>
          <a:latin typeface="Times New Roman" pitchFamily="18" charset="0"/>
        </a:defRPr>
      </a:lvl7pPr>
      <a:lvl8pPr marL="1371600" algn="ctr" defTabSz="938213" rtl="0" eaLnBrk="1" fontAlgn="base" hangingPunct="1">
        <a:spcBef>
          <a:spcPct val="0"/>
        </a:spcBef>
        <a:spcAft>
          <a:spcPct val="0"/>
        </a:spcAft>
        <a:defRPr sz="4500">
          <a:solidFill>
            <a:schemeClr val="tx1"/>
          </a:solidFill>
          <a:latin typeface="Times New Roman" pitchFamily="18" charset="0"/>
        </a:defRPr>
      </a:lvl8pPr>
      <a:lvl9pPr marL="1828800" algn="ctr" defTabSz="938213" rtl="0" eaLnBrk="1" fontAlgn="base" hangingPunct="1">
        <a:spcBef>
          <a:spcPct val="0"/>
        </a:spcBef>
        <a:spcAft>
          <a:spcPct val="0"/>
        </a:spcAft>
        <a:defRPr sz="4500">
          <a:solidFill>
            <a:schemeClr val="tx1"/>
          </a:solidFill>
          <a:latin typeface="Times New Roman" pitchFamily="18" charset="0"/>
        </a:defRPr>
      </a:lvl9pPr>
    </p:titleStyle>
    <p:bodyStyle>
      <a:lvl1pPr marL="350838" indent="-350838" algn="l" defTabSz="938213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300" kern="1200">
          <a:solidFill>
            <a:schemeClr val="tx1"/>
          </a:solidFill>
          <a:latin typeface="+mn-lt"/>
          <a:ea typeface="+mn-ea"/>
          <a:cs typeface="+mn-cs"/>
        </a:defRPr>
      </a:lvl1pPr>
      <a:lvl2pPr marL="762000" indent="-292100" algn="l" defTabSz="938213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900" kern="1200">
          <a:solidFill>
            <a:schemeClr val="tx1"/>
          </a:solidFill>
          <a:latin typeface="+mn-lt"/>
          <a:ea typeface="+mn-ea"/>
          <a:cs typeface="+mn-cs"/>
        </a:defRPr>
      </a:lvl2pPr>
      <a:lvl3pPr marL="1173163" indent="-233363" algn="l" defTabSz="938213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3pPr>
      <a:lvl4pPr marL="1643063" indent="-233363" algn="l" defTabSz="938213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2112963" indent="-233363" algn="l" defTabSz="938213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583835" indent="-234893" algn="l" defTabSz="939575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053622" indent="-234893" algn="l" defTabSz="939575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523412" indent="-234893" algn="l" defTabSz="939575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93197" indent="-234893" algn="l" defTabSz="939575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957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69788" algn="l" defTabSz="93957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39575" algn="l" defTabSz="93957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409365" algn="l" defTabSz="93957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79152" algn="l" defTabSz="93957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348940" algn="l" defTabSz="93957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818729" algn="l" defTabSz="93957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88515" algn="l" defTabSz="93957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758305" algn="l" defTabSz="93957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5" Type="http://schemas.openxmlformats.org/officeDocument/2006/relationships/image" Target="../media/image5.jpeg"/><Relationship Id="rId4" Type="http://schemas.openxmlformats.org/officeDocument/2006/relationships/image" Target="../media/image4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irsraksts 1">
            <a:extLst>
              <a:ext uri="{FF2B5EF4-FFF2-40B4-BE49-F238E27FC236}">
                <a16:creationId xmlns:a16="http://schemas.microsoft.com/office/drawing/2014/main" id="{99FC3A90-C028-3545-20FE-162B53B652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lv-LV" dirty="0"/>
              <a:t>Covid-19 vakcinācijas aptvere ģimenes ārstu praksēs 2022. gada rudens sezonā reģistrētiem pacientiem</a:t>
            </a:r>
          </a:p>
        </p:txBody>
      </p:sp>
      <p:graphicFrame>
        <p:nvGraphicFramePr>
          <p:cNvPr id="9" name="Satura vietturis 8">
            <a:extLst>
              <a:ext uri="{FF2B5EF4-FFF2-40B4-BE49-F238E27FC236}">
                <a16:creationId xmlns:a16="http://schemas.microsoft.com/office/drawing/2014/main" id="{8D62376A-787D-B6F3-6262-1EBFB42390CB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809255652"/>
              </p:ext>
            </p:extLst>
          </p:nvPr>
        </p:nvGraphicFramePr>
        <p:xfrm>
          <a:off x="425302" y="2371060"/>
          <a:ext cx="8261497" cy="42583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Slaida numura vietturis 5">
            <a:extLst>
              <a:ext uri="{FF2B5EF4-FFF2-40B4-BE49-F238E27FC236}">
                <a16:creationId xmlns:a16="http://schemas.microsoft.com/office/drawing/2014/main" id="{9E90521C-33F9-1BF0-A79C-186B46F11FB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C7FB64B8-8415-4D07-B1AF-D9FC1935312F}" type="slidenum">
              <a:rPr lang="en-US" altLang="en-US" smtClean="0"/>
              <a:pPr>
                <a:defRPr/>
              </a:pPr>
              <a:t>1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35291260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itle 138">
            <a:extLst>
              <a:ext uri="{FF2B5EF4-FFF2-40B4-BE49-F238E27FC236}">
                <a16:creationId xmlns:a16="http://schemas.microsoft.com/office/drawing/2014/main" id="{60C88EA0-B988-4B3D-6F8C-3586C31A29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90800" y="381000"/>
            <a:ext cx="6096000" cy="1036638"/>
          </a:xfrm>
        </p:spPr>
        <p:txBody>
          <a:bodyPr/>
          <a:lstStyle/>
          <a:p>
            <a:r>
              <a:rPr lang="en-US" altLang="en-US">
                <a:latin typeface="Times New Roman" panose="02020603050405020304" pitchFamily="18" charset="0"/>
                <a:cs typeface="Times New Roman" panose="02020603050405020304" pitchFamily="18" charset="0"/>
              </a:rPr>
              <a:t>ĢĀ riska pacientu saraksts</a:t>
            </a:r>
            <a:endParaRPr lang="en-US" altLang="lv-LV">
              <a:cs typeface="Times New Roman" panose="02020603050405020304" pitchFamily="18" charset="0"/>
            </a:endParaRPr>
          </a:p>
        </p:txBody>
      </p:sp>
      <p:sp>
        <p:nvSpPr>
          <p:cNvPr id="16387" name="Text Placeholder 139">
            <a:extLst>
              <a:ext uri="{FF2B5EF4-FFF2-40B4-BE49-F238E27FC236}">
                <a16:creationId xmlns:a16="http://schemas.microsoft.com/office/drawing/2014/main" id="{72429B71-0D45-40B6-EED1-1E521EA3531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lv-LV" altLang="lv-LV"/>
          </a:p>
        </p:txBody>
      </p:sp>
      <p:sp>
        <p:nvSpPr>
          <p:cNvPr id="16388" name="Text Placeholder 146">
            <a:extLst>
              <a:ext uri="{FF2B5EF4-FFF2-40B4-BE49-F238E27FC236}">
                <a16:creationId xmlns:a16="http://schemas.microsoft.com/office/drawing/2014/main" id="{7A1561DA-4AF6-13E8-A91D-BB6A868B67E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lv-LV" altLang="lv-LV"/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4EAE24A8-5177-5A28-9191-736A0F1F52A6}"/>
              </a:ext>
            </a:extLst>
          </p:cNvPr>
          <p:cNvSpPr>
            <a:spLocks noChangeAspect="1"/>
          </p:cNvSpPr>
          <p:nvPr/>
        </p:nvSpPr>
        <p:spPr>
          <a:xfrm>
            <a:off x="2735263" y="2209800"/>
            <a:ext cx="828675" cy="82867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anchor="ctr"/>
          <a:lstStyle/>
          <a:p>
            <a:pPr algn="ctr">
              <a:defRPr/>
            </a:pPr>
            <a:endParaRPr lang="en-US" sz="1275" dirty="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3C7630E3-1C99-71D7-CA4E-604A0F1792DD}"/>
              </a:ext>
            </a:extLst>
          </p:cNvPr>
          <p:cNvSpPr>
            <a:spLocks noChangeAspect="1"/>
          </p:cNvSpPr>
          <p:nvPr/>
        </p:nvSpPr>
        <p:spPr>
          <a:xfrm>
            <a:off x="5580063" y="2209800"/>
            <a:ext cx="828675" cy="828675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anchor="ctr"/>
          <a:lstStyle/>
          <a:p>
            <a:pPr algn="ctr">
              <a:defRPr/>
            </a:pPr>
            <a:endParaRPr lang="en-US" sz="1275" dirty="0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3EB8E8A1-A1BA-12A9-1827-FC752ACB04B2}"/>
              </a:ext>
            </a:extLst>
          </p:cNvPr>
          <p:cNvSpPr>
            <a:spLocks noChangeAspect="1"/>
          </p:cNvSpPr>
          <p:nvPr/>
        </p:nvSpPr>
        <p:spPr>
          <a:xfrm>
            <a:off x="3903663" y="3021013"/>
            <a:ext cx="1336675" cy="1336675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en-US" sz="2000" dirty="0" err="1"/>
              <a:t>Riska</a:t>
            </a:r>
            <a:r>
              <a:rPr lang="en-US" sz="2000" dirty="0"/>
              <a:t> </a:t>
            </a:r>
            <a:r>
              <a:rPr lang="en-US" sz="2000" dirty="0" err="1"/>
              <a:t>pacientu</a:t>
            </a:r>
            <a:r>
              <a:rPr lang="en-US" sz="2000" dirty="0"/>
              <a:t> saraksts</a:t>
            </a:r>
          </a:p>
        </p:txBody>
      </p:sp>
      <p:cxnSp>
        <p:nvCxnSpPr>
          <p:cNvPr id="10" name="Connector: Elbow 9">
            <a:extLst>
              <a:ext uri="{FF2B5EF4-FFF2-40B4-BE49-F238E27FC236}">
                <a16:creationId xmlns:a16="http://schemas.microsoft.com/office/drawing/2014/main" id="{CCC3052B-187C-8A7F-547F-961BCD9AD7A0}"/>
              </a:ext>
            </a:extLst>
          </p:cNvPr>
          <p:cNvCxnSpPr>
            <a:stCxn id="9" idx="6"/>
            <a:endCxn id="6" idx="2"/>
          </p:cNvCxnSpPr>
          <p:nvPr/>
        </p:nvCxnSpPr>
        <p:spPr>
          <a:xfrm flipV="1">
            <a:off x="5240338" y="2624138"/>
            <a:ext cx="339725" cy="1065212"/>
          </a:xfrm>
          <a:prstGeom prst="bentConnector3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nector: Elbow 11">
            <a:extLst>
              <a:ext uri="{FF2B5EF4-FFF2-40B4-BE49-F238E27FC236}">
                <a16:creationId xmlns:a16="http://schemas.microsoft.com/office/drawing/2014/main" id="{782FE4FE-B8C6-5854-FB82-EB6BE2AD4A09}"/>
              </a:ext>
            </a:extLst>
          </p:cNvPr>
          <p:cNvCxnSpPr>
            <a:cxnSpLocks/>
            <a:stCxn id="3" idx="6"/>
            <a:endCxn id="9" idx="2"/>
          </p:cNvCxnSpPr>
          <p:nvPr/>
        </p:nvCxnSpPr>
        <p:spPr>
          <a:xfrm>
            <a:off x="3563938" y="2624138"/>
            <a:ext cx="339725" cy="1065212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AI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B09DACAF-7258-BDE9-21EC-55041DED2AFC}"/>
              </a:ext>
            </a:extLst>
          </p:cNvPr>
          <p:cNvGrpSpPr>
            <a:grpSpLocks noChangeAspect="1"/>
          </p:cNvGrpSpPr>
          <p:nvPr/>
        </p:nvGrpSpPr>
        <p:grpSpPr>
          <a:xfrm>
            <a:off x="2875635" y="3423482"/>
            <a:ext cx="585467" cy="541976"/>
            <a:chOff x="5936234" y="2219065"/>
            <a:chExt cx="3630213" cy="3360535"/>
          </a:xfrm>
          <a:solidFill>
            <a:schemeClr val="bg1"/>
          </a:solidFill>
        </p:grpSpPr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B3BDF42A-4297-9475-F0A6-37696C842A5F}"/>
                </a:ext>
              </a:extLst>
            </p:cNvPr>
            <p:cNvSpPr>
              <a:spLocks/>
            </p:cNvSpPr>
            <p:nvPr/>
          </p:nvSpPr>
          <p:spPr bwMode="auto">
            <a:xfrm>
              <a:off x="7699484" y="2633946"/>
              <a:ext cx="1410595" cy="2344083"/>
            </a:xfrm>
            <a:custGeom>
              <a:avLst/>
              <a:gdLst>
                <a:gd name="connsiteX0" fmla="*/ 1007578 w 1410595"/>
                <a:gd name="connsiteY0" fmla="*/ 1980833 h 2344083"/>
                <a:gd name="connsiteX1" fmla="*/ 1007568 w 1410595"/>
                <a:gd name="connsiteY1" fmla="*/ 1980991 h 2344083"/>
                <a:gd name="connsiteX2" fmla="*/ 1007568 w 1410595"/>
                <a:gd name="connsiteY2" fmla="*/ 1980834 h 2344083"/>
                <a:gd name="connsiteX3" fmla="*/ 1543 w 1410595"/>
                <a:gd name="connsiteY3" fmla="*/ 1846226 h 2344083"/>
                <a:gd name="connsiteX4" fmla="*/ 92202 w 1410595"/>
                <a:gd name="connsiteY4" fmla="*/ 1846226 h 2344083"/>
                <a:gd name="connsiteX5" fmla="*/ 91353 w 1410595"/>
                <a:gd name="connsiteY5" fmla="*/ 1871529 h 2344083"/>
                <a:gd name="connsiteX6" fmla="*/ 161211 w 1410595"/>
                <a:gd name="connsiteY6" fmla="*/ 2127829 h 2344083"/>
                <a:gd name="connsiteX7" fmla="*/ 346604 w 1410595"/>
                <a:gd name="connsiteY7" fmla="*/ 2213263 h 2344083"/>
                <a:gd name="connsiteX8" fmla="*/ 416462 w 1410595"/>
                <a:gd name="connsiteY8" fmla="*/ 2207923 h 2344083"/>
                <a:gd name="connsiteX9" fmla="*/ 421835 w 1410595"/>
                <a:gd name="connsiteY9" fmla="*/ 2205254 h 2344083"/>
                <a:gd name="connsiteX10" fmla="*/ 424522 w 1410595"/>
                <a:gd name="connsiteY10" fmla="*/ 2205254 h 2344083"/>
                <a:gd name="connsiteX11" fmla="*/ 446017 w 1410595"/>
                <a:gd name="connsiteY11" fmla="*/ 2205254 h 2344083"/>
                <a:gd name="connsiteX12" fmla="*/ 456764 w 1410595"/>
                <a:gd name="connsiteY12" fmla="*/ 2221272 h 2344083"/>
                <a:gd name="connsiteX13" fmla="*/ 537370 w 1410595"/>
                <a:gd name="connsiteY13" fmla="*/ 2255980 h 2344083"/>
                <a:gd name="connsiteX14" fmla="*/ 628723 w 1410595"/>
                <a:gd name="connsiteY14" fmla="*/ 2205254 h 2344083"/>
                <a:gd name="connsiteX15" fmla="*/ 655591 w 1410595"/>
                <a:gd name="connsiteY15" fmla="*/ 2162537 h 2344083"/>
                <a:gd name="connsiteX16" fmla="*/ 693207 w 1410595"/>
                <a:gd name="connsiteY16" fmla="*/ 2197244 h 2344083"/>
                <a:gd name="connsiteX17" fmla="*/ 741570 w 1410595"/>
                <a:gd name="connsiteY17" fmla="*/ 2213263 h 2344083"/>
                <a:gd name="connsiteX18" fmla="*/ 795307 w 1410595"/>
                <a:gd name="connsiteY18" fmla="*/ 2194574 h 2344083"/>
                <a:gd name="connsiteX19" fmla="*/ 816802 w 1410595"/>
                <a:gd name="connsiteY19" fmla="*/ 2146518 h 2344083"/>
                <a:gd name="connsiteX20" fmla="*/ 814115 w 1410595"/>
                <a:gd name="connsiteY20" fmla="*/ 2127829 h 2344083"/>
                <a:gd name="connsiteX21" fmla="*/ 797994 w 1410595"/>
                <a:gd name="connsiteY21" fmla="*/ 2063754 h 2344083"/>
                <a:gd name="connsiteX22" fmla="*/ 862478 w 1410595"/>
                <a:gd name="connsiteY22" fmla="*/ 2071764 h 2344083"/>
                <a:gd name="connsiteX23" fmla="*/ 875912 w 1410595"/>
                <a:gd name="connsiteY23" fmla="*/ 2074434 h 2344083"/>
                <a:gd name="connsiteX24" fmla="*/ 937710 w 1410595"/>
                <a:gd name="connsiteY24" fmla="*/ 2047736 h 2344083"/>
                <a:gd name="connsiteX25" fmla="*/ 961891 w 1410595"/>
                <a:gd name="connsiteY25" fmla="*/ 1994340 h 2344083"/>
                <a:gd name="connsiteX26" fmla="*/ 961891 w 1410595"/>
                <a:gd name="connsiteY26" fmla="*/ 1986330 h 2344083"/>
                <a:gd name="connsiteX27" fmla="*/ 956518 w 1410595"/>
                <a:gd name="connsiteY27" fmla="*/ 1932934 h 2344083"/>
                <a:gd name="connsiteX28" fmla="*/ 1007568 w 1410595"/>
                <a:gd name="connsiteY28" fmla="*/ 1938274 h 2344083"/>
                <a:gd name="connsiteX29" fmla="*/ 1007568 w 1410595"/>
                <a:gd name="connsiteY29" fmla="*/ 1980834 h 2344083"/>
                <a:gd name="connsiteX30" fmla="*/ 1004881 w 1410595"/>
                <a:gd name="connsiteY30" fmla="*/ 1980991 h 2344083"/>
                <a:gd name="connsiteX31" fmla="*/ 1002194 w 1410595"/>
                <a:gd name="connsiteY31" fmla="*/ 2026377 h 2344083"/>
                <a:gd name="connsiteX32" fmla="*/ 1004881 w 1410595"/>
                <a:gd name="connsiteY32" fmla="*/ 2026377 h 2344083"/>
                <a:gd name="connsiteX33" fmla="*/ 1007568 w 1410595"/>
                <a:gd name="connsiteY33" fmla="*/ 2026377 h 2344083"/>
                <a:gd name="connsiteX34" fmla="*/ 1044876 w 1410595"/>
                <a:gd name="connsiteY34" fmla="*/ 2022285 h 2344083"/>
                <a:gd name="connsiteX35" fmla="*/ 1037123 w 1410595"/>
                <a:gd name="connsiteY35" fmla="*/ 2060417 h 2344083"/>
                <a:gd name="connsiteX36" fmla="*/ 999507 w 1410595"/>
                <a:gd name="connsiteY36" fmla="*/ 2114480 h 2344083"/>
                <a:gd name="connsiteX37" fmla="*/ 943755 w 1410595"/>
                <a:gd name="connsiteY37" fmla="*/ 2149522 h 2344083"/>
                <a:gd name="connsiteX38" fmla="*/ 904239 w 1410595"/>
                <a:gd name="connsiteY38" fmla="*/ 2157103 h 2344083"/>
                <a:gd name="connsiteX39" fmla="*/ 905468 w 1410595"/>
                <a:gd name="connsiteY39" fmla="*/ 2146518 h 2344083"/>
                <a:gd name="connsiteX40" fmla="*/ 900094 w 1410595"/>
                <a:gd name="connsiteY40" fmla="*/ 2106471 h 2344083"/>
                <a:gd name="connsiteX41" fmla="*/ 857104 w 1410595"/>
                <a:gd name="connsiteY41" fmla="*/ 2117150 h 2344083"/>
                <a:gd name="connsiteX42" fmla="*/ 851731 w 1410595"/>
                <a:gd name="connsiteY42" fmla="*/ 2159867 h 2344083"/>
                <a:gd name="connsiteX43" fmla="*/ 875912 w 1410595"/>
                <a:gd name="connsiteY43" fmla="*/ 2162537 h 2344083"/>
                <a:gd name="connsiteX44" fmla="*/ 904239 w 1410595"/>
                <a:gd name="connsiteY44" fmla="*/ 2157103 h 2344083"/>
                <a:gd name="connsiteX45" fmla="*/ 901648 w 1410595"/>
                <a:gd name="connsiteY45" fmla="*/ 2179432 h 2344083"/>
                <a:gd name="connsiteX46" fmla="*/ 854418 w 1410595"/>
                <a:gd name="connsiteY46" fmla="*/ 2258650 h 2344083"/>
                <a:gd name="connsiteX47" fmla="*/ 741570 w 1410595"/>
                <a:gd name="connsiteY47" fmla="*/ 2304036 h 2344083"/>
                <a:gd name="connsiteX48" fmla="*/ 685818 w 1410595"/>
                <a:gd name="connsiteY48" fmla="*/ 2294024 h 2344083"/>
                <a:gd name="connsiteX49" fmla="*/ 672536 w 1410595"/>
                <a:gd name="connsiteY49" fmla="*/ 2286311 h 2344083"/>
                <a:gd name="connsiteX50" fmla="*/ 701267 w 1410595"/>
                <a:gd name="connsiteY50" fmla="*/ 2253310 h 2344083"/>
                <a:gd name="connsiteX51" fmla="*/ 663652 w 1410595"/>
                <a:gd name="connsiteY51" fmla="*/ 2229282 h 2344083"/>
                <a:gd name="connsiteX52" fmla="*/ 634096 w 1410595"/>
                <a:gd name="connsiteY52" fmla="*/ 2263989 h 2344083"/>
                <a:gd name="connsiteX53" fmla="*/ 672536 w 1410595"/>
                <a:gd name="connsiteY53" fmla="*/ 2286311 h 2344083"/>
                <a:gd name="connsiteX54" fmla="*/ 667346 w 1410595"/>
                <a:gd name="connsiteY54" fmla="*/ 2292273 h 2344083"/>
                <a:gd name="connsiteX55" fmla="*/ 537370 w 1410595"/>
                <a:gd name="connsiteY55" fmla="*/ 2344083 h 2344083"/>
                <a:gd name="connsiteX56" fmla="*/ 459787 w 1410595"/>
                <a:gd name="connsiteY56" fmla="*/ 2328064 h 2344083"/>
                <a:gd name="connsiteX57" fmla="*/ 414234 w 1410595"/>
                <a:gd name="connsiteY57" fmla="*/ 2295636 h 2344083"/>
                <a:gd name="connsiteX58" fmla="*/ 424522 w 1410595"/>
                <a:gd name="connsiteY58" fmla="*/ 2294358 h 2344083"/>
                <a:gd name="connsiteX59" fmla="*/ 432583 w 1410595"/>
                <a:gd name="connsiteY59" fmla="*/ 2293357 h 2344083"/>
                <a:gd name="connsiteX60" fmla="*/ 424522 w 1410595"/>
                <a:gd name="connsiteY60" fmla="*/ 2250640 h 2344083"/>
                <a:gd name="connsiteX61" fmla="*/ 392280 w 1410595"/>
                <a:gd name="connsiteY61" fmla="*/ 2280008 h 2344083"/>
                <a:gd name="connsiteX62" fmla="*/ 414234 w 1410595"/>
                <a:gd name="connsiteY62" fmla="*/ 2295636 h 2344083"/>
                <a:gd name="connsiteX63" fmla="*/ 346604 w 1410595"/>
                <a:gd name="connsiteY63" fmla="*/ 2304036 h 2344083"/>
                <a:gd name="connsiteX64" fmla="*/ 91353 w 1410595"/>
                <a:gd name="connsiteY64" fmla="*/ 2183895 h 2344083"/>
                <a:gd name="connsiteX65" fmla="*/ 0 w 1410595"/>
                <a:gd name="connsiteY65" fmla="*/ 1871529 h 2344083"/>
                <a:gd name="connsiteX66" fmla="*/ 660965 w 1410595"/>
                <a:gd name="connsiteY66" fmla="*/ 0 h 2344083"/>
                <a:gd name="connsiteX67" fmla="*/ 736196 w 1410595"/>
                <a:gd name="connsiteY67" fmla="*/ 15685 h 2344083"/>
                <a:gd name="connsiteX68" fmla="*/ 779586 w 1410595"/>
                <a:gd name="connsiteY68" fmla="*/ 45219 h 2344083"/>
                <a:gd name="connsiteX69" fmla="*/ 757691 w 1410595"/>
                <a:gd name="connsiteY69" fmla="*/ 48056 h 2344083"/>
                <a:gd name="connsiteX70" fmla="*/ 768438 w 1410595"/>
                <a:gd name="connsiteY70" fmla="*/ 90773 h 2344083"/>
                <a:gd name="connsiteX71" fmla="*/ 803367 w 1410595"/>
                <a:gd name="connsiteY71" fmla="*/ 61405 h 2344083"/>
                <a:gd name="connsiteX72" fmla="*/ 779586 w 1410595"/>
                <a:gd name="connsiteY72" fmla="*/ 45219 h 2344083"/>
                <a:gd name="connsiteX73" fmla="*/ 819488 w 1410595"/>
                <a:gd name="connsiteY73" fmla="*/ 40047 h 2344083"/>
                <a:gd name="connsiteX74" fmla="*/ 1051061 w 1410595"/>
                <a:gd name="connsiteY74" fmla="*/ 231678 h 2344083"/>
                <a:gd name="connsiteX75" fmla="*/ 1054935 w 1410595"/>
                <a:gd name="connsiteY75" fmla="*/ 270374 h 2344083"/>
                <a:gd name="connsiteX76" fmla="*/ 1029063 w 1410595"/>
                <a:gd name="connsiteY76" fmla="*/ 253631 h 2344083"/>
                <a:gd name="connsiteX77" fmla="*/ 1010255 w 1410595"/>
                <a:gd name="connsiteY77" fmla="*/ 293678 h 2344083"/>
                <a:gd name="connsiteX78" fmla="*/ 1055931 w 1410595"/>
                <a:gd name="connsiteY78" fmla="*/ 299018 h 2344083"/>
                <a:gd name="connsiteX79" fmla="*/ 1055931 w 1410595"/>
                <a:gd name="connsiteY79" fmla="*/ 280329 h 2344083"/>
                <a:gd name="connsiteX80" fmla="*/ 1054935 w 1410595"/>
                <a:gd name="connsiteY80" fmla="*/ 270374 h 2344083"/>
                <a:gd name="connsiteX81" fmla="*/ 1089139 w 1410595"/>
                <a:gd name="connsiteY81" fmla="*/ 292510 h 2344083"/>
                <a:gd name="connsiteX82" fmla="*/ 1174152 w 1410595"/>
                <a:gd name="connsiteY82" fmla="*/ 483234 h 2344083"/>
                <a:gd name="connsiteX83" fmla="*/ 1170458 w 1410595"/>
                <a:gd name="connsiteY83" fmla="*/ 524616 h 2344083"/>
                <a:gd name="connsiteX84" fmla="*/ 1169206 w 1410595"/>
                <a:gd name="connsiteY84" fmla="*/ 529936 h 2344083"/>
                <a:gd name="connsiteX85" fmla="*/ 1133850 w 1410595"/>
                <a:gd name="connsiteY85" fmla="*/ 509932 h 2344083"/>
                <a:gd name="connsiteX86" fmla="*/ 1117729 w 1410595"/>
                <a:gd name="connsiteY86" fmla="*/ 552648 h 2344083"/>
                <a:gd name="connsiteX87" fmla="*/ 1160718 w 1410595"/>
                <a:gd name="connsiteY87" fmla="*/ 565997 h 2344083"/>
                <a:gd name="connsiteX88" fmla="*/ 1169206 w 1410595"/>
                <a:gd name="connsiteY88" fmla="*/ 529936 h 2344083"/>
                <a:gd name="connsiteX89" fmla="*/ 1204925 w 1410595"/>
                <a:gd name="connsiteY89" fmla="*/ 550146 h 2344083"/>
                <a:gd name="connsiteX90" fmla="*/ 1305808 w 1410595"/>
                <a:gd name="connsiteY90" fmla="*/ 752883 h 2344083"/>
                <a:gd name="connsiteX91" fmla="*/ 1298083 w 1410595"/>
                <a:gd name="connsiteY91" fmla="*/ 812954 h 2344083"/>
                <a:gd name="connsiteX92" fmla="*/ 1290153 w 1410595"/>
                <a:gd name="connsiteY92" fmla="*/ 834774 h 2344083"/>
                <a:gd name="connsiteX93" fmla="*/ 1254758 w 1410595"/>
                <a:gd name="connsiteY93" fmla="*/ 811619 h 2344083"/>
                <a:gd name="connsiteX94" fmla="*/ 1235950 w 1410595"/>
                <a:gd name="connsiteY94" fmla="*/ 851666 h 2344083"/>
                <a:gd name="connsiteX95" fmla="*/ 1276253 w 1410595"/>
                <a:gd name="connsiteY95" fmla="*/ 873024 h 2344083"/>
                <a:gd name="connsiteX96" fmla="*/ 1290153 w 1410595"/>
                <a:gd name="connsiteY96" fmla="*/ 834774 h 2344083"/>
                <a:gd name="connsiteX97" fmla="*/ 1318781 w 1410595"/>
                <a:gd name="connsiteY97" fmla="*/ 853501 h 2344083"/>
                <a:gd name="connsiteX98" fmla="*/ 1410595 w 1410595"/>
                <a:gd name="connsiteY98" fmla="*/ 1065250 h 2344083"/>
                <a:gd name="connsiteX99" fmla="*/ 1351652 w 1410595"/>
                <a:gd name="connsiteY99" fmla="*/ 1242458 h 2344083"/>
                <a:gd name="connsiteX100" fmla="*/ 1337871 w 1410595"/>
                <a:gd name="connsiteY100" fmla="*/ 1256631 h 2344083"/>
                <a:gd name="connsiteX101" fmla="*/ 1313868 w 1410595"/>
                <a:gd name="connsiteY101" fmla="*/ 1220098 h 2344083"/>
                <a:gd name="connsiteX102" fmla="*/ 1281626 w 1410595"/>
                <a:gd name="connsiteY102" fmla="*/ 1252136 h 2344083"/>
                <a:gd name="connsiteX103" fmla="*/ 1308495 w 1410595"/>
                <a:gd name="connsiteY103" fmla="*/ 1286843 h 2344083"/>
                <a:gd name="connsiteX104" fmla="*/ 1337871 w 1410595"/>
                <a:gd name="connsiteY104" fmla="*/ 1256631 h 2344083"/>
                <a:gd name="connsiteX105" fmla="*/ 1356186 w 1410595"/>
                <a:gd name="connsiteY105" fmla="*/ 1284507 h 2344083"/>
                <a:gd name="connsiteX106" fmla="*/ 1370292 w 1410595"/>
                <a:gd name="connsiteY106" fmla="*/ 1358928 h 2344083"/>
                <a:gd name="connsiteX107" fmla="*/ 1309082 w 1410595"/>
                <a:gd name="connsiteY107" fmla="*/ 1498967 h 2344083"/>
                <a:gd name="connsiteX108" fmla="*/ 1294714 w 1410595"/>
                <a:gd name="connsiteY108" fmla="*/ 1509370 h 2344083"/>
                <a:gd name="connsiteX109" fmla="*/ 1281626 w 1410595"/>
                <a:gd name="connsiteY109" fmla="*/ 1473729 h 2344083"/>
                <a:gd name="connsiteX110" fmla="*/ 1241324 w 1410595"/>
                <a:gd name="connsiteY110" fmla="*/ 1492417 h 2344083"/>
                <a:gd name="connsiteX111" fmla="*/ 1262818 w 1410595"/>
                <a:gd name="connsiteY111" fmla="*/ 1532464 h 2344083"/>
                <a:gd name="connsiteX112" fmla="*/ 1294714 w 1410595"/>
                <a:gd name="connsiteY112" fmla="*/ 1509370 h 2344083"/>
                <a:gd name="connsiteX113" fmla="*/ 1299762 w 1410595"/>
                <a:gd name="connsiteY113" fmla="*/ 1523120 h 2344083"/>
                <a:gd name="connsiteX114" fmla="*/ 1305808 w 1410595"/>
                <a:gd name="connsiteY114" fmla="*/ 1572511 h 2344083"/>
                <a:gd name="connsiteX115" fmla="*/ 1260132 w 1410595"/>
                <a:gd name="connsiteY115" fmla="*/ 1708671 h 2344083"/>
                <a:gd name="connsiteX116" fmla="*/ 1206395 w 1410595"/>
                <a:gd name="connsiteY116" fmla="*/ 1759398 h 2344083"/>
                <a:gd name="connsiteX117" fmla="*/ 1186368 w 1410595"/>
                <a:gd name="connsiteY117" fmla="*/ 1767051 h 2344083"/>
                <a:gd name="connsiteX118" fmla="*/ 1166092 w 1410595"/>
                <a:gd name="connsiteY118" fmla="*/ 1719350 h 2344083"/>
                <a:gd name="connsiteX119" fmla="*/ 1125789 w 1410595"/>
                <a:gd name="connsiteY119" fmla="*/ 1743379 h 2344083"/>
                <a:gd name="connsiteX120" fmla="*/ 1136536 w 1410595"/>
                <a:gd name="connsiteY120" fmla="*/ 1786095 h 2344083"/>
                <a:gd name="connsiteX121" fmla="*/ 1186368 w 1410595"/>
                <a:gd name="connsiteY121" fmla="*/ 1767051 h 2344083"/>
                <a:gd name="connsiteX122" fmla="*/ 1188930 w 1410595"/>
                <a:gd name="connsiteY122" fmla="*/ 1773080 h 2344083"/>
                <a:gd name="connsiteX123" fmla="*/ 1195647 w 1410595"/>
                <a:gd name="connsiteY123" fmla="*/ 1828812 h 2344083"/>
                <a:gd name="connsiteX124" fmla="*/ 1144597 w 1410595"/>
                <a:gd name="connsiteY124" fmla="*/ 1964972 h 2344083"/>
                <a:gd name="connsiteX125" fmla="*/ 1047115 w 1410595"/>
                <a:gd name="connsiteY125" fmla="*/ 2022039 h 2344083"/>
                <a:gd name="connsiteX126" fmla="*/ 1044876 w 1410595"/>
                <a:gd name="connsiteY126" fmla="*/ 2022285 h 2344083"/>
                <a:gd name="connsiteX127" fmla="*/ 1050557 w 1410595"/>
                <a:gd name="connsiteY127" fmla="*/ 1994340 h 2344083"/>
                <a:gd name="connsiteX128" fmla="*/ 1050557 w 1410595"/>
                <a:gd name="connsiteY128" fmla="*/ 1978321 h 2344083"/>
                <a:gd name="connsiteX129" fmla="*/ 1007578 w 1410595"/>
                <a:gd name="connsiteY129" fmla="*/ 1980833 h 2344083"/>
                <a:gd name="connsiteX130" fmla="*/ 1010255 w 1410595"/>
                <a:gd name="connsiteY130" fmla="*/ 1938274 h 2344083"/>
                <a:gd name="connsiteX131" fmla="*/ 1007568 w 1410595"/>
                <a:gd name="connsiteY131" fmla="*/ 1938274 h 2344083"/>
                <a:gd name="connsiteX132" fmla="*/ 1077426 w 1410595"/>
                <a:gd name="connsiteY132" fmla="*/ 1906236 h 2344083"/>
                <a:gd name="connsiteX133" fmla="*/ 1106981 w 1410595"/>
                <a:gd name="connsiteY133" fmla="*/ 1828812 h 2344083"/>
                <a:gd name="connsiteX134" fmla="*/ 1088173 w 1410595"/>
                <a:gd name="connsiteY134" fmla="*/ 1767407 h 2344083"/>
                <a:gd name="connsiteX135" fmla="*/ 1053244 w 1410595"/>
                <a:gd name="connsiteY135" fmla="*/ 1711341 h 2344083"/>
                <a:gd name="connsiteX136" fmla="*/ 1117729 w 1410595"/>
                <a:gd name="connsiteY136" fmla="*/ 1700662 h 2344083"/>
                <a:gd name="connsiteX137" fmla="*/ 1187587 w 1410595"/>
                <a:gd name="connsiteY137" fmla="*/ 1655275 h 2344083"/>
                <a:gd name="connsiteX138" fmla="*/ 1214455 w 1410595"/>
                <a:gd name="connsiteY138" fmla="*/ 1572511 h 2344083"/>
                <a:gd name="connsiteX139" fmla="*/ 1201021 w 1410595"/>
                <a:gd name="connsiteY139" fmla="*/ 1511106 h 2344083"/>
                <a:gd name="connsiteX140" fmla="*/ 1182213 w 1410595"/>
                <a:gd name="connsiteY140" fmla="*/ 1473729 h 2344083"/>
                <a:gd name="connsiteX141" fmla="*/ 1219829 w 1410595"/>
                <a:gd name="connsiteY141" fmla="*/ 1452371 h 2344083"/>
                <a:gd name="connsiteX142" fmla="*/ 1278940 w 1410595"/>
                <a:gd name="connsiteY142" fmla="*/ 1358928 h 2344083"/>
                <a:gd name="connsiteX143" fmla="*/ 1249384 w 1410595"/>
                <a:gd name="connsiteY143" fmla="*/ 1281503 h 2344083"/>
                <a:gd name="connsiteX144" fmla="*/ 1214455 w 1410595"/>
                <a:gd name="connsiteY144" fmla="*/ 1246796 h 2344083"/>
                <a:gd name="connsiteX145" fmla="*/ 1252071 w 1410595"/>
                <a:gd name="connsiteY145" fmla="*/ 1217428 h 2344083"/>
                <a:gd name="connsiteX146" fmla="*/ 1321929 w 1410595"/>
                <a:gd name="connsiteY146" fmla="*/ 1065250 h 2344083"/>
                <a:gd name="connsiteX147" fmla="*/ 1217142 w 1410595"/>
                <a:gd name="connsiteY147" fmla="*/ 891713 h 2344083"/>
                <a:gd name="connsiteX148" fmla="*/ 1174152 w 1410595"/>
                <a:gd name="connsiteY148" fmla="*/ 873024 h 2344083"/>
                <a:gd name="connsiteX149" fmla="*/ 1195647 w 1410595"/>
                <a:gd name="connsiteY149" fmla="*/ 830307 h 2344083"/>
                <a:gd name="connsiteX150" fmla="*/ 1214455 w 1410595"/>
                <a:gd name="connsiteY150" fmla="*/ 752883 h 2344083"/>
                <a:gd name="connsiteX151" fmla="*/ 1101608 w 1410595"/>
                <a:gd name="connsiteY151" fmla="*/ 595365 h 2344083"/>
                <a:gd name="connsiteX152" fmla="*/ 1061305 w 1410595"/>
                <a:gd name="connsiteY152" fmla="*/ 579346 h 2344083"/>
                <a:gd name="connsiteX153" fmla="*/ 1074739 w 1410595"/>
                <a:gd name="connsiteY153" fmla="*/ 539299 h 2344083"/>
                <a:gd name="connsiteX154" fmla="*/ 1085486 w 1410595"/>
                <a:gd name="connsiteY154" fmla="*/ 483234 h 2344083"/>
                <a:gd name="connsiteX155" fmla="*/ 991447 w 1410595"/>
                <a:gd name="connsiteY155" fmla="*/ 336395 h 2344083"/>
                <a:gd name="connsiteX156" fmla="*/ 961891 w 1410595"/>
                <a:gd name="connsiteY156" fmla="*/ 323046 h 2344083"/>
                <a:gd name="connsiteX157" fmla="*/ 964578 w 1410595"/>
                <a:gd name="connsiteY157" fmla="*/ 291008 h 2344083"/>
                <a:gd name="connsiteX158" fmla="*/ 967265 w 1410595"/>
                <a:gd name="connsiteY158" fmla="*/ 280329 h 2344083"/>
                <a:gd name="connsiteX159" fmla="*/ 921589 w 1410595"/>
                <a:gd name="connsiteY159" fmla="*/ 173537 h 2344083"/>
                <a:gd name="connsiteX160" fmla="*/ 819488 w 1410595"/>
                <a:gd name="connsiteY160" fmla="*/ 130820 h 2344083"/>
                <a:gd name="connsiteX161" fmla="*/ 781873 w 1410595"/>
                <a:gd name="connsiteY161" fmla="*/ 133490 h 2344083"/>
                <a:gd name="connsiteX162" fmla="*/ 755004 w 1410595"/>
                <a:gd name="connsiteY162" fmla="*/ 141499 h 2344083"/>
                <a:gd name="connsiteX163" fmla="*/ 736196 w 1410595"/>
                <a:gd name="connsiteY163" fmla="*/ 122811 h 2344083"/>
                <a:gd name="connsiteX164" fmla="*/ 660965 w 1410595"/>
                <a:gd name="connsiteY164" fmla="*/ 88103 h 2344083"/>
                <a:gd name="connsiteX165" fmla="*/ 564238 w 1410595"/>
                <a:gd name="connsiteY165" fmla="*/ 149509 h 2344083"/>
                <a:gd name="connsiteX166" fmla="*/ 548117 w 1410595"/>
                <a:gd name="connsiteY166" fmla="*/ 178877 h 2344083"/>
                <a:gd name="connsiteX167" fmla="*/ 515875 w 1410595"/>
                <a:gd name="connsiteY167" fmla="*/ 170867 h 2344083"/>
                <a:gd name="connsiteX168" fmla="*/ 475572 w 1410595"/>
                <a:gd name="connsiteY168" fmla="*/ 168197 h 2344083"/>
                <a:gd name="connsiteX169" fmla="*/ 354664 w 1410595"/>
                <a:gd name="connsiteY169" fmla="*/ 218924 h 2344083"/>
                <a:gd name="connsiteX170" fmla="*/ 303614 w 1410595"/>
                <a:gd name="connsiteY170" fmla="*/ 336395 h 2344083"/>
                <a:gd name="connsiteX171" fmla="*/ 338543 w 1410595"/>
                <a:gd name="connsiteY171" fmla="*/ 432507 h 2344083"/>
                <a:gd name="connsiteX172" fmla="*/ 389593 w 1410595"/>
                <a:gd name="connsiteY172" fmla="*/ 499252 h 2344083"/>
                <a:gd name="connsiteX173" fmla="*/ 303614 w 1410595"/>
                <a:gd name="connsiteY173" fmla="*/ 504592 h 2344083"/>
                <a:gd name="connsiteX174" fmla="*/ 177332 w 1410595"/>
                <a:gd name="connsiteY174" fmla="*/ 563328 h 2344083"/>
                <a:gd name="connsiteX175" fmla="*/ 138694 w 1410595"/>
                <a:gd name="connsiteY175" fmla="*/ 622321 h 2344083"/>
                <a:gd name="connsiteX176" fmla="*/ 44525 w 1410595"/>
                <a:gd name="connsiteY176" fmla="*/ 622321 h 2344083"/>
                <a:gd name="connsiteX177" fmla="*/ 54409 w 1410595"/>
                <a:gd name="connsiteY177" fmla="*/ 590693 h 2344083"/>
                <a:gd name="connsiteX178" fmla="*/ 112848 w 1410595"/>
                <a:gd name="connsiteY178" fmla="*/ 501922 h 2344083"/>
                <a:gd name="connsiteX179" fmla="*/ 198827 w 1410595"/>
                <a:gd name="connsiteY179" fmla="*/ 439849 h 2344083"/>
                <a:gd name="connsiteX180" fmla="*/ 234881 w 1410595"/>
                <a:gd name="connsiteY180" fmla="*/ 426484 h 2344083"/>
                <a:gd name="connsiteX181" fmla="*/ 265998 w 1410595"/>
                <a:gd name="connsiteY181" fmla="*/ 485903 h 2344083"/>
                <a:gd name="connsiteX182" fmla="*/ 300927 w 1410595"/>
                <a:gd name="connsiteY182" fmla="*/ 459205 h 2344083"/>
                <a:gd name="connsiteX183" fmla="*/ 300927 w 1410595"/>
                <a:gd name="connsiteY183" fmla="*/ 413819 h 2344083"/>
                <a:gd name="connsiteX184" fmla="*/ 248114 w 1410595"/>
                <a:gd name="connsiteY184" fmla="*/ 421578 h 2344083"/>
                <a:gd name="connsiteX185" fmla="*/ 234881 w 1410595"/>
                <a:gd name="connsiteY185" fmla="*/ 426484 h 2344083"/>
                <a:gd name="connsiteX186" fmla="*/ 227375 w 1410595"/>
                <a:gd name="connsiteY186" fmla="*/ 412150 h 2344083"/>
                <a:gd name="connsiteX187" fmla="*/ 214948 w 1410595"/>
                <a:gd name="connsiteY187" fmla="*/ 336395 h 2344083"/>
                <a:gd name="connsiteX188" fmla="*/ 290180 w 1410595"/>
                <a:gd name="connsiteY188" fmla="*/ 157518 h 2344083"/>
                <a:gd name="connsiteX189" fmla="*/ 475572 w 1410595"/>
                <a:gd name="connsiteY189" fmla="*/ 77424 h 2344083"/>
                <a:gd name="connsiteX190" fmla="*/ 504748 w 1410595"/>
                <a:gd name="connsiteY190" fmla="*/ 81378 h 2344083"/>
                <a:gd name="connsiteX191" fmla="*/ 486320 w 1410595"/>
                <a:gd name="connsiteY191" fmla="*/ 106792 h 2344083"/>
                <a:gd name="connsiteX192" fmla="*/ 526622 w 1410595"/>
                <a:gd name="connsiteY192" fmla="*/ 128150 h 2344083"/>
                <a:gd name="connsiteX193" fmla="*/ 534683 w 1410595"/>
                <a:gd name="connsiteY193" fmla="*/ 85434 h 2344083"/>
                <a:gd name="connsiteX194" fmla="*/ 504748 w 1410595"/>
                <a:gd name="connsiteY194" fmla="*/ 81378 h 2344083"/>
                <a:gd name="connsiteX195" fmla="*/ 519653 w 1410595"/>
                <a:gd name="connsiteY195" fmla="*/ 60822 h 2344083"/>
                <a:gd name="connsiteX196" fmla="*/ 660965 w 1410595"/>
                <a:gd name="connsiteY196" fmla="*/ 0 h 2344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</a:cxnLst>
              <a:rect l="l" t="t" r="r" b="b"/>
              <a:pathLst>
                <a:path w="1410595" h="2344083">
                  <a:moveTo>
                    <a:pt x="1007578" y="1980833"/>
                  </a:moveTo>
                  <a:lnTo>
                    <a:pt x="1007568" y="1980991"/>
                  </a:lnTo>
                  <a:lnTo>
                    <a:pt x="1007568" y="1980834"/>
                  </a:lnTo>
                  <a:close/>
                  <a:moveTo>
                    <a:pt x="1543" y="1846226"/>
                  </a:moveTo>
                  <a:lnTo>
                    <a:pt x="92202" y="1846226"/>
                  </a:lnTo>
                  <a:lnTo>
                    <a:pt x="91353" y="1871529"/>
                  </a:lnTo>
                  <a:cubicBezTo>
                    <a:pt x="91353" y="1986330"/>
                    <a:pt x="118222" y="2074434"/>
                    <a:pt x="161211" y="2127829"/>
                  </a:cubicBezTo>
                  <a:cubicBezTo>
                    <a:pt x="206888" y="2183895"/>
                    <a:pt x="263311" y="2213263"/>
                    <a:pt x="346604" y="2213263"/>
                  </a:cubicBezTo>
                  <a:cubicBezTo>
                    <a:pt x="368098" y="2213263"/>
                    <a:pt x="392280" y="2213263"/>
                    <a:pt x="416462" y="2207923"/>
                  </a:cubicBezTo>
                  <a:lnTo>
                    <a:pt x="421835" y="2205254"/>
                  </a:lnTo>
                  <a:lnTo>
                    <a:pt x="424522" y="2205254"/>
                  </a:lnTo>
                  <a:lnTo>
                    <a:pt x="446017" y="2205254"/>
                  </a:lnTo>
                  <a:lnTo>
                    <a:pt x="456764" y="2221272"/>
                  </a:lnTo>
                  <a:cubicBezTo>
                    <a:pt x="480946" y="2245301"/>
                    <a:pt x="507814" y="2255980"/>
                    <a:pt x="537370" y="2255980"/>
                  </a:cubicBezTo>
                  <a:cubicBezTo>
                    <a:pt x="569612" y="2255980"/>
                    <a:pt x="601854" y="2239961"/>
                    <a:pt x="628723" y="2205254"/>
                  </a:cubicBezTo>
                  <a:lnTo>
                    <a:pt x="655591" y="2162537"/>
                  </a:lnTo>
                  <a:lnTo>
                    <a:pt x="693207" y="2197244"/>
                  </a:lnTo>
                  <a:cubicBezTo>
                    <a:pt x="709328" y="2210593"/>
                    <a:pt x="725449" y="2213263"/>
                    <a:pt x="741570" y="2213263"/>
                  </a:cubicBezTo>
                  <a:cubicBezTo>
                    <a:pt x="760378" y="2215933"/>
                    <a:pt x="779186" y="2207923"/>
                    <a:pt x="795307" y="2194574"/>
                  </a:cubicBezTo>
                  <a:cubicBezTo>
                    <a:pt x="808741" y="2181225"/>
                    <a:pt x="816802" y="2165207"/>
                    <a:pt x="816802" y="2146518"/>
                  </a:cubicBezTo>
                  <a:cubicBezTo>
                    <a:pt x="816802" y="2141178"/>
                    <a:pt x="814115" y="2133169"/>
                    <a:pt x="814115" y="2127829"/>
                  </a:cubicBezTo>
                  <a:lnTo>
                    <a:pt x="797994" y="2063754"/>
                  </a:lnTo>
                  <a:lnTo>
                    <a:pt x="862478" y="2071764"/>
                  </a:lnTo>
                  <a:cubicBezTo>
                    <a:pt x="867852" y="2074434"/>
                    <a:pt x="870539" y="2074434"/>
                    <a:pt x="875912" y="2074434"/>
                  </a:cubicBezTo>
                  <a:cubicBezTo>
                    <a:pt x="900094" y="2074434"/>
                    <a:pt x="921589" y="2063754"/>
                    <a:pt x="937710" y="2047736"/>
                  </a:cubicBezTo>
                  <a:cubicBezTo>
                    <a:pt x="951144" y="2034387"/>
                    <a:pt x="961891" y="2015698"/>
                    <a:pt x="961891" y="1994340"/>
                  </a:cubicBezTo>
                  <a:lnTo>
                    <a:pt x="961891" y="1986330"/>
                  </a:lnTo>
                  <a:lnTo>
                    <a:pt x="956518" y="1932934"/>
                  </a:lnTo>
                  <a:lnTo>
                    <a:pt x="1007568" y="1938274"/>
                  </a:lnTo>
                  <a:lnTo>
                    <a:pt x="1007568" y="1980834"/>
                  </a:lnTo>
                  <a:lnTo>
                    <a:pt x="1004881" y="1980991"/>
                  </a:lnTo>
                  <a:lnTo>
                    <a:pt x="1002194" y="2026377"/>
                  </a:lnTo>
                  <a:lnTo>
                    <a:pt x="1004881" y="2026377"/>
                  </a:lnTo>
                  <a:lnTo>
                    <a:pt x="1007568" y="2026377"/>
                  </a:lnTo>
                  <a:lnTo>
                    <a:pt x="1044876" y="2022285"/>
                  </a:lnTo>
                  <a:lnTo>
                    <a:pt x="1037123" y="2060417"/>
                  </a:lnTo>
                  <a:cubicBezTo>
                    <a:pt x="1028391" y="2081108"/>
                    <a:pt x="1015628" y="2099796"/>
                    <a:pt x="999507" y="2114480"/>
                  </a:cubicBezTo>
                  <a:cubicBezTo>
                    <a:pt x="983386" y="2129164"/>
                    <a:pt x="964578" y="2141178"/>
                    <a:pt x="943755" y="2149522"/>
                  </a:cubicBezTo>
                  <a:lnTo>
                    <a:pt x="904239" y="2157103"/>
                  </a:lnTo>
                  <a:lnTo>
                    <a:pt x="905468" y="2146518"/>
                  </a:lnTo>
                  <a:cubicBezTo>
                    <a:pt x="905468" y="2133169"/>
                    <a:pt x="902781" y="2119820"/>
                    <a:pt x="900094" y="2106471"/>
                  </a:cubicBezTo>
                  <a:lnTo>
                    <a:pt x="857104" y="2117150"/>
                  </a:lnTo>
                  <a:lnTo>
                    <a:pt x="851731" y="2159867"/>
                  </a:lnTo>
                  <a:cubicBezTo>
                    <a:pt x="859791" y="2162537"/>
                    <a:pt x="867852" y="2162537"/>
                    <a:pt x="875912" y="2162537"/>
                  </a:cubicBezTo>
                  <a:lnTo>
                    <a:pt x="904239" y="2157103"/>
                  </a:lnTo>
                  <a:lnTo>
                    <a:pt x="901648" y="2179432"/>
                  </a:lnTo>
                  <a:cubicBezTo>
                    <a:pt x="894217" y="2211094"/>
                    <a:pt x="876584" y="2238626"/>
                    <a:pt x="854418" y="2258650"/>
                  </a:cubicBezTo>
                  <a:cubicBezTo>
                    <a:pt x="824862" y="2288017"/>
                    <a:pt x="784560" y="2304036"/>
                    <a:pt x="741570" y="2304036"/>
                  </a:cubicBezTo>
                  <a:cubicBezTo>
                    <a:pt x="722762" y="2304036"/>
                    <a:pt x="703954" y="2300699"/>
                    <a:pt x="685818" y="2294024"/>
                  </a:cubicBezTo>
                  <a:lnTo>
                    <a:pt x="672536" y="2286311"/>
                  </a:lnTo>
                  <a:lnTo>
                    <a:pt x="701267" y="2253310"/>
                  </a:lnTo>
                  <a:lnTo>
                    <a:pt x="663652" y="2229282"/>
                  </a:lnTo>
                  <a:lnTo>
                    <a:pt x="634096" y="2263989"/>
                  </a:lnTo>
                  <a:lnTo>
                    <a:pt x="672536" y="2286311"/>
                  </a:lnTo>
                  <a:lnTo>
                    <a:pt x="667346" y="2292273"/>
                  </a:lnTo>
                  <a:cubicBezTo>
                    <a:pt x="630066" y="2326062"/>
                    <a:pt x="583718" y="2344083"/>
                    <a:pt x="537370" y="2344083"/>
                  </a:cubicBezTo>
                  <a:cubicBezTo>
                    <a:pt x="510501" y="2344083"/>
                    <a:pt x="484305" y="2338744"/>
                    <a:pt x="459787" y="2328064"/>
                  </a:cubicBezTo>
                  <a:lnTo>
                    <a:pt x="414234" y="2295636"/>
                  </a:lnTo>
                  <a:lnTo>
                    <a:pt x="424522" y="2294358"/>
                  </a:lnTo>
                  <a:lnTo>
                    <a:pt x="432583" y="2293357"/>
                  </a:lnTo>
                  <a:lnTo>
                    <a:pt x="424522" y="2250640"/>
                  </a:lnTo>
                  <a:lnTo>
                    <a:pt x="392280" y="2280008"/>
                  </a:lnTo>
                  <a:lnTo>
                    <a:pt x="414234" y="2295636"/>
                  </a:lnTo>
                  <a:lnTo>
                    <a:pt x="346604" y="2304036"/>
                  </a:lnTo>
                  <a:cubicBezTo>
                    <a:pt x="241817" y="2304036"/>
                    <a:pt x="150464" y="2261319"/>
                    <a:pt x="91353" y="2183895"/>
                  </a:cubicBezTo>
                  <a:cubicBezTo>
                    <a:pt x="32242" y="2106471"/>
                    <a:pt x="2687" y="1999679"/>
                    <a:pt x="0" y="1871529"/>
                  </a:cubicBezTo>
                  <a:close/>
                  <a:moveTo>
                    <a:pt x="660965" y="0"/>
                  </a:moveTo>
                  <a:cubicBezTo>
                    <a:pt x="686490" y="0"/>
                    <a:pt x="712015" y="5340"/>
                    <a:pt x="736196" y="15685"/>
                  </a:cubicBezTo>
                  <a:lnTo>
                    <a:pt x="779586" y="45219"/>
                  </a:lnTo>
                  <a:lnTo>
                    <a:pt x="757691" y="48056"/>
                  </a:lnTo>
                  <a:lnTo>
                    <a:pt x="768438" y="90773"/>
                  </a:lnTo>
                  <a:lnTo>
                    <a:pt x="803367" y="61405"/>
                  </a:lnTo>
                  <a:lnTo>
                    <a:pt x="779586" y="45219"/>
                  </a:lnTo>
                  <a:lnTo>
                    <a:pt x="819488" y="40047"/>
                  </a:lnTo>
                  <a:cubicBezTo>
                    <a:pt x="932336" y="40047"/>
                    <a:pt x="1028727" y="121810"/>
                    <a:pt x="1051061" y="231678"/>
                  </a:cubicBezTo>
                  <a:lnTo>
                    <a:pt x="1054935" y="270374"/>
                  </a:lnTo>
                  <a:lnTo>
                    <a:pt x="1029063" y="253631"/>
                  </a:lnTo>
                  <a:lnTo>
                    <a:pt x="1010255" y="293678"/>
                  </a:lnTo>
                  <a:lnTo>
                    <a:pt x="1055931" y="299018"/>
                  </a:lnTo>
                  <a:cubicBezTo>
                    <a:pt x="1055931" y="291008"/>
                    <a:pt x="1055931" y="285669"/>
                    <a:pt x="1055931" y="280329"/>
                  </a:cubicBezTo>
                  <a:lnTo>
                    <a:pt x="1054935" y="270374"/>
                  </a:lnTo>
                  <a:lnTo>
                    <a:pt x="1089139" y="292510"/>
                  </a:lnTo>
                  <a:cubicBezTo>
                    <a:pt x="1142414" y="339565"/>
                    <a:pt x="1174152" y="409147"/>
                    <a:pt x="1174152" y="483234"/>
                  </a:cubicBezTo>
                  <a:cubicBezTo>
                    <a:pt x="1174152" y="496583"/>
                    <a:pt x="1172809" y="510599"/>
                    <a:pt x="1170458" y="524616"/>
                  </a:cubicBezTo>
                  <a:lnTo>
                    <a:pt x="1169206" y="529936"/>
                  </a:lnTo>
                  <a:lnTo>
                    <a:pt x="1133850" y="509932"/>
                  </a:lnTo>
                  <a:lnTo>
                    <a:pt x="1117729" y="552648"/>
                  </a:lnTo>
                  <a:lnTo>
                    <a:pt x="1160718" y="565997"/>
                  </a:lnTo>
                  <a:lnTo>
                    <a:pt x="1169206" y="529936"/>
                  </a:lnTo>
                  <a:lnTo>
                    <a:pt x="1204925" y="550146"/>
                  </a:lnTo>
                  <a:cubicBezTo>
                    <a:pt x="1268024" y="599704"/>
                    <a:pt x="1305808" y="674792"/>
                    <a:pt x="1305808" y="752883"/>
                  </a:cubicBezTo>
                  <a:cubicBezTo>
                    <a:pt x="1305808" y="772907"/>
                    <a:pt x="1303121" y="792930"/>
                    <a:pt x="1298083" y="812954"/>
                  </a:cubicBezTo>
                  <a:lnTo>
                    <a:pt x="1290153" y="834774"/>
                  </a:lnTo>
                  <a:lnTo>
                    <a:pt x="1254758" y="811619"/>
                  </a:lnTo>
                  <a:lnTo>
                    <a:pt x="1235950" y="851666"/>
                  </a:lnTo>
                  <a:lnTo>
                    <a:pt x="1276253" y="873024"/>
                  </a:lnTo>
                  <a:lnTo>
                    <a:pt x="1290153" y="834774"/>
                  </a:lnTo>
                  <a:lnTo>
                    <a:pt x="1318781" y="853501"/>
                  </a:lnTo>
                  <a:cubicBezTo>
                    <a:pt x="1375834" y="904561"/>
                    <a:pt x="1410595" y="981151"/>
                    <a:pt x="1410595" y="1065250"/>
                  </a:cubicBezTo>
                  <a:cubicBezTo>
                    <a:pt x="1410595" y="1133330"/>
                    <a:pt x="1389436" y="1193901"/>
                    <a:pt x="1351652" y="1242458"/>
                  </a:cubicBezTo>
                  <a:lnTo>
                    <a:pt x="1337871" y="1256631"/>
                  </a:lnTo>
                  <a:lnTo>
                    <a:pt x="1313868" y="1220098"/>
                  </a:lnTo>
                  <a:lnTo>
                    <a:pt x="1281626" y="1252136"/>
                  </a:lnTo>
                  <a:lnTo>
                    <a:pt x="1308495" y="1286843"/>
                  </a:lnTo>
                  <a:lnTo>
                    <a:pt x="1337871" y="1256631"/>
                  </a:lnTo>
                  <a:lnTo>
                    <a:pt x="1356186" y="1284507"/>
                  </a:lnTo>
                  <a:cubicBezTo>
                    <a:pt x="1365590" y="1308201"/>
                    <a:pt x="1370292" y="1333565"/>
                    <a:pt x="1370292" y="1358928"/>
                  </a:cubicBezTo>
                  <a:cubicBezTo>
                    <a:pt x="1370292" y="1408986"/>
                    <a:pt x="1349133" y="1460547"/>
                    <a:pt x="1309082" y="1498967"/>
                  </a:cubicBezTo>
                  <a:lnTo>
                    <a:pt x="1294714" y="1509370"/>
                  </a:lnTo>
                  <a:lnTo>
                    <a:pt x="1281626" y="1473729"/>
                  </a:lnTo>
                  <a:lnTo>
                    <a:pt x="1241324" y="1492417"/>
                  </a:lnTo>
                  <a:lnTo>
                    <a:pt x="1262818" y="1532464"/>
                  </a:lnTo>
                  <a:lnTo>
                    <a:pt x="1294714" y="1509370"/>
                  </a:lnTo>
                  <a:lnTo>
                    <a:pt x="1299762" y="1523120"/>
                  </a:lnTo>
                  <a:cubicBezTo>
                    <a:pt x="1303793" y="1539806"/>
                    <a:pt x="1305808" y="1556492"/>
                    <a:pt x="1305808" y="1572511"/>
                  </a:cubicBezTo>
                  <a:cubicBezTo>
                    <a:pt x="1305808" y="1623238"/>
                    <a:pt x="1289687" y="1671294"/>
                    <a:pt x="1260132" y="1708671"/>
                  </a:cubicBezTo>
                  <a:cubicBezTo>
                    <a:pt x="1245354" y="1728695"/>
                    <a:pt x="1227218" y="1746049"/>
                    <a:pt x="1206395" y="1759398"/>
                  </a:cubicBezTo>
                  <a:lnTo>
                    <a:pt x="1186368" y="1767051"/>
                  </a:lnTo>
                  <a:lnTo>
                    <a:pt x="1166092" y="1719350"/>
                  </a:lnTo>
                  <a:lnTo>
                    <a:pt x="1125789" y="1743379"/>
                  </a:lnTo>
                  <a:lnTo>
                    <a:pt x="1136536" y="1786095"/>
                  </a:lnTo>
                  <a:lnTo>
                    <a:pt x="1186368" y="1767051"/>
                  </a:lnTo>
                  <a:lnTo>
                    <a:pt x="1188930" y="1773080"/>
                  </a:lnTo>
                  <a:cubicBezTo>
                    <a:pt x="1193632" y="1791435"/>
                    <a:pt x="1195647" y="1810124"/>
                    <a:pt x="1195647" y="1828812"/>
                  </a:cubicBezTo>
                  <a:cubicBezTo>
                    <a:pt x="1195647" y="1879538"/>
                    <a:pt x="1176839" y="1927595"/>
                    <a:pt x="1144597" y="1964972"/>
                  </a:cubicBezTo>
                  <a:cubicBezTo>
                    <a:pt x="1120416" y="1993005"/>
                    <a:pt x="1085655" y="2013529"/>
                    <a:pt x="1047115" y="2022039"/>
                  </a:cubicBezTo>
                  <a:lnTo>
                    <a:pt x="1044876" y="2022285"/>
                  </a:lnTo>
                  <a:lnTo>
                    <a:pt x="1050557" y="1994340"/>
                  </a:lnTo>
                  <a:cubicBezTo>
                    <a:pt x="1050557" y="1989000"/>
                    <a:pt x="1050557" y="1983660"/>
                    <a:pt x="1050557" y="1978321"/>
                  </a:cubicBezTo>
                  <a:lnTo>
                    <a:pt x="1007578" y="1980833"/>
                  </a:lnTo>
                  <a:lnTo>
                    <a:pt x="1010255" y="1938274"/>
                  </a:lnTo>
                  <a:lnTo>
                    <a:pt x="1007568" y="1938274"/>
                  </a:lnTo>
                  <a:cubicBezTo>
                    <a:pt x="1037123" y="1938274"/>
                    <a:pt x="1058618" y="1924925"/>
                    <a:pt x="1077426" y="1906236"/>
                  </a:cubicBezTo>
                  <a:cubicBezTo>
                    <a:pt x="1096234" y="1884878"/>
                    <a:pt x="1106981" y="1858180"/>
                    <a:pt x="1106981" y="1828812"/>
                  </a:cubicBezTo>
                  <a:cubicBezTo>
                    <a:pt x="1106981" y="1807454"/>
                    <a:pt x="1101608" y="1786095"/>
                    <a:pt x="1088173" y="1767407"/>
                  </a:cubicBezTo>
                  <a:lnTo>
                    <a:pt x="1053244" y="1711341"/>
                  </a:lnTo>
                  <a:lnTo>
                    <a:pt x="1117729" y="1700662"/>
                  </a:lnTo>
                  <a:cubicBezTo>
                    <a:pt x="1147284" y="1695322"/>
                    <a:pt x="1171466" y="1679303"/>
                    <a:pt x="1187587" y="1655275"/>
                  </a:cubicBezTo>
                  <a:cubicBezTo>
                    <a:pt x="1206395" y="1633917"/>
                    <a:pt x="1214455" y="1604549"/>
                    <a:pt x="1214455" y="1572511"/>
                  </a:cubicBezTo>
                  <a:cubicBezTo>
                    <a:pt x="1214455" y="1551153"/>
                    <a:pt x="1211768" y="1532464"/>
                    <a:pt x="1201021" y="1511106"/>
                  </a:cubicBezTo>
                  <a:lnTo>
                    <a:pt x="1182213" y="1473729"/>
                  </a:lnTo>
                  <a:lnTo>
                    <a:pt x="1219829" y="1452371"/>
                  </a:lnTo>
                  <a:cubicBezTo>
                    <a:pt x="1260132" y="1433682"/>
                    <a:pt x="1278940" y="1396305"/>
                    <a:pt x="1278940" y="1358928"/>
                  </a:cubicBezTo>
                  <a:cubicBezTo>
                    <a:pt x="1278940" y="1329560"/>
                    <a:pt x="1270879" y="1305532"/>
                    <a:pt x="1249384" y="1281503"/>
                  </a:cubicBezTo>
                  <a:lnTo>
                    <a:pt x="1214455" y="1246796"/>
                  </a:lnTo>
                  <a:lnTo>
                    <a:pt x="1252071" y="1217428"/>
                  </a:lnTo>
                  <a:cubicBezTo>
                    <a:pt x="1295060" y="1182721"/>
                    <a:pt x="1321929" y="1129325"/>
                    <a:pt x="1321929" y="1065250"/>
                  </a:cubicBezTo>
                  <a:cubicBezTo>
                    <a:pt x="1321929" y="985156"/>
                    <a:pt x="1276253" y="918411"/>
                    <a:pt x="1217142" y="891713"/>
                  </a:cubicBezTo>
                  <a:lnTo>
                    <a:pt x="1174152" y="873024"/>
                  </a:lnTo>
                  <a:lnTo>
                    <a:pt x="1195647" y="830307"/>
                  </a:lnTo>
                  <a:cubicBezTo>
                    <a:pt x="1209081" y="806279"/>
                    <a:pt x="1214455" y="779581"/>
                    <a:pt x="1214455" y="752883"/>
                  </a:cubicBezTo>
                  <a:cubicBezTo>
                    <a:pt x="1214455" y="686138"/>
                    <a:pt x="1174152" y="619393"/>
                    <a:pt x="1101608" y="595365"/>
                  </a:cubicBezTo>
                  <a:lnTo>
                    <a:pt x="1061305" y="579346"/>
                  </a:lnTo>
                  <a:lnTo>
                    <a:pt x="1074739" y="539299"/>
                  </a:lnTo>
                  <a:cubicBezTo>
                    <a:pt x="1082800" y="517941"/>
                    <a:pt x="1085486" y="499252"/>
                    <a:pt x="1085486" y="483234"/>
                  </a:cubicBezTo>
                  <a:cubicBezTo>
                    <a:pt x="1085486" y="416489"/>
                    <a:pt x="1047871" y="360423"/>
                    <a:pt x="991447" y="336395"/>
                  </a:cubicBezTo>
                  <a:lnTo>
                    <a:pt x="961891" y="323046"/>
                  </a:lnTo>
                  <a:lnTo>
                    <a:pt x="964578" y="291008"/>
                  </a:lnTo>
                  <a:cubicBezTo>
                    <a:pt x="964578" y="288338"/>
                    <a:pt x="967265" y="282999"/>
                    <a:pt x="967265" y="280329"/>
                  </a:cubicBezTo>
                  <a:cubicBezTo>
                    <a:pt x="967265" y="237612"/>
                    <a:pt x="948457" y="200235"/>
                    <a:pt x="921589" y="173537"/>
                  </a:cubicBezTo>
                  <a:cubicBezTo>
                    <a:pt x="894720" y="146839"/>
                    <a:pt x="857104" y="130820"/>
                    <a:pt x="819488" y="130820"/>
                  </a:cubicBezTo>
                  <a:cubicBezTo>
                    <a:pt x="806054" y="130820"/>
                    <a:pt x="795307" y="130820"/>
                    <a:pt x="781873" y="133490"/>
                  </a:cubicBezTo>
                  <a:lnTo>
                    <a:pt x="755004" y="141499"/>
                  </a:lnTo>
                  <a:lnTo>
                    <a:pt x="736196" y="122811"/>
                  </a:lnTo>
                  <a:cubicBezTo>
                    <a:pt x="714701" y="98783"/>
                    <a:pt x="687833" y="88103"/>
                    <a:pt x="660965" y="88103"/>
                  </a:cubicBezTo>
                  <a:cubicBezTo>
                    <a:pt x="623349" y="88103"/>
                    <a:pt x="588420" y="106792"/>
                    <a:pt x="564238" y="149509"/>
                  </a:cubicBezTo>
                  <a:lnTo>
                    <a:pt x="548117" y="178877"/>
                  </a:lnTo>
                  <a:lnTo>
                    <a:pt x="515875" y="170867"/>
                  </a:lnTo>
                  <a:cubicBezTo>
                    <a:pt x="502441" y="168197"/>
                    <a:pt x="489007" y="168197"/>
                    <a:pt x="475572" y="168197"/>
                  </a:cubicBezTo>
                  <a:cubicBezTo>
                    <a:pt x="427209" y="168197"/>
                    <a:pt x="384219" y="186886"/>
                    <a:pt x="354664" y="218924"/>
                  </a:cubicBezTo>
                  <a:cubicBezTo>
                    <a:pt x="322422" y="250961"/>
                    <a:pt x="303614" y="293678"/>
                    <a:pt x="303614" y="336395"/>
                  </a:cubicBezTo>
                  <a:cubicBezTo>
                    <a:pt x="303614" y="368432"/>
                    <a:pt x="314361" y="400470"/>
                    <a:pt x="338543" y="432507"/>
                  </a:cubicBezTo>
                  <a:lnTo>
                    <a:pt x="389593" y="499252"/>
                  </a:lnTo>
                  <a:lnTo>
                    <a:pt x="303614" y="504592"/>
                  </a:lnTo>
                  <a:cubicBezTo>
                    <a:pt x="260624" y="504592"/>
                    <a:pt x="212261" y="528620"/>
                    <a:pt x="177332" y="563328"/>
                  </a:cubicBezTo>
                  <a:lnTo>
                    <a:pt x="138694" y="622321"/>
                  </a:lnTo>
                  <a:lnTo>
                    <a:pt x="44525" y="622321"/>
                  </a:lnTo>
                  <a:lnTo>
                    <a:pt x="54409" y="590693"/>
                  </a:lnTo>
                  <a:cubicBezTo>
                    <a:pt x="68515" y="557321"/>
                    <a:pt x="88666" y="527285"/>
                    <a:pt x="112848" y="501922"/>
                  </a:cubicBezTo>
                  <a:cubicBezTo>
                    <a:pt x="138373" y="476559"/>
                    <a:pt x="167256" y="455201"/>
                    <a:pt x="198827" y="439849"/>
                  </a:cubicBezTo>
                  <a:lnTo>
                    <a:pt x="234881" y="426484"/>
                  </a:lnTo>
                  <a:lnTo>
                    <a:pt x="265998" y="485903"/>
                  </a:lnTo>
                  <a:lnTo>
                    <a:pt x="300927" y="459205"/>
                  </a:lnTo>
                  <a:lnTo>
                    <a:pt x="300927" y="413819"/>
                  </a:lnTo>
                  <a:cubicBezTo>
                    <a:pt x="282791" y="414486"/>
                    <a:pt x="265159" y="417156"/>
                    <a:pt x="248114" y="421578"/>
                  </a:cubicBezTo>
                  <a:lnTo>
                    <a:pt x="234881" y="426484"/>
                  </a:lnTo>
                  <a:lnTo>
                    <a:pt x="227375" y="412150"/>
                  </a:lnTo>
                  <a:cubicBezTo>
                    <a:pt x="218979" y="387121"/>
                    <a:pt x="214948" y="361758"/>
                    <a:pt x="214948" y="336395"/>
                  </a:cubicBezTo>
                  <a:cubicBezTo>
                    <a:pt x="214948" y="266980"/>
                    <a:pt x="241817" y="202905"/>
                    <a:pt x="290180" y="157518"/>
                  </a:cubicBezTo>
                  <a:cubicBezTo>
                    <a:pt x="335856" y="109462"/>
                    <a:pt x="400341" y="77424"/>
                    <a:pt x="475572" y="77424"/>
                  </a:cubicBezTo>
                  <a:lnTo>
                    <a:pt x="504748" y="81378"/>
                  </a:lnTo>
                  <a:lnTo>
                    <a:pt x="486320" y="106792"/>
                  </a:lnTo>
                  <a:lnTo>
                    <a:pt x="526622" y="128150"/>
                  </a:lnTo>
                  <a:lnTo>
                    <a:pt x="534683" y="85434"/>
                  </a:lnTo>
                  <a:lnTo>
                    <a:pt x="504748" y="81378"/>
                  </a:lnTo>
                  <a:lnTo>
                    <a:pt x="519653" y="60822"/>
                  </a:lnTo>
                  <a:cubicBezTo>
                    <a:pt x="557689" y="21025"/>
                    <a:pt x="608571" y="0"/>
                    <a:pt x="6609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8" name="Freeform 114">
              <a:extLst>
                <a:ext uri="{FF2B5EF4-FFF2-40B4-BE49-F238E27FC236}">
                  <a16:creationId xmlns:a16="http://schemas.microsoft.com/office/drawing/2014/main" id="{29BE2E82-C3E3-E613-2AA1-007E0BB7598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8495" y="3733387"/>
              <a:ext cx="497857" cy="331905"/>
            </a:xfrm>
            <a:custGeom>
              <a:avLst/>
              <a:gdLst>
                <a:gd name="T0" fmla="*/ 190 w 190"/>
                <a:gd name="T1" fmla="*/ 48 h 122"/>
                <a:gd name="T2" fmla="*/ 149 w 190"/>
                <a:gd name="T3" fmla="*/ 13 h 122"/>
                <a:gd name="T4" fmla="*/ 96 w 190"/>
                <a:gd name="T5" fmla="*/ 0 h 122"/>
                <a:gd name="T6" fmla="*/ 30 w 190"/>
                <a:gd name="T7" fmla="*/ 23 h 122"/>
                <a:gd name="T8" fmla="*/ 0 w 190"/>
                <a:gd name="T9" fmla="*/ 86 h 122"/>
                <a:gd name="T10" fmla="*/ 7 w 190"/>
                <a:gd name="T11" fmla="*/ 122 h 122"/>
                <a:gd name="T12" fmla="*/ 38 w 190"/>
                <a:gd name="T13" fmla="*/ 110 h 122"/>
                <a:gd name="T14" fmla="*/ 34 w 190"/>
                <a:gd name="T15" fmla="*/ 86 h 122"/>
                <a:gd name="T16" fmla="*/ 52 w 190"/>
                <a:gd name="T17" fmla="*/ 48 h 122"/>
                <a:gd name="T18" fmla="*/ 96 w 190"/>
                <a:gd name="T19" fmla="*/ 33 h 122"/>
                <a:gd name="T20" fmla="*/ 134 w 190"/>
                <a:gd name="T21" fmla="*/ 42 h 122"/>
                <a:gd name="T22" fmla="*/ 163 w 190"/>
                <a:gd name="T23" fmla="*/ 67 h 122"/>
                <a:gd name="T24" fmla="*/ 190 w 190"/>
                <a:gd name="T25" fmla="*/ 48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0" h="122">
                  <a:moveTo>
                    <a:pt x="190" y="48"/>
                  </a:moveTo>
                  <a:cubicBezTo>
                    <a:pt x="180" y="33"/>
                    <a:pt x="165" y="21"/>
                    <a:pt x="149" y="13"/>
                  </a:cubicBezTo>
                  <a:cubicBezTo>
                    <a:pt x="132" y="4"/>
                    <a:pt x="114" y="0"/>
                    <a:pt x="96" y="0"/>
                  </a:cubicBezTo>
                  <a:cubicBezTo>
                    <a:pt x="72" y="0"/>
                    <a:pt x="48" y="8"/>
                    <a:pt x="30" y="23"/>
                  </a:cubicBezTo>
                  <a:cubicBezTo>
                    <a:pt x="12" y="38"/>
                    <a:pt x="0" y="60"/>
                    <a:pt x="0" y="86"/>
                  </a:cubicBezTo>
                  <a:cubicBezTo>
                    <a:pt x="0" y="98"/>
                    <a:pt x="2" y="110"/>
                    <a:pt x="7" y="122"/>
                  </a:cubicBezTo>
                  <a:lnTo>
                    <a:pt x="38" y="110"/>
                  </a:lnTo>
                  <a:cubicBezTo>
                    <a:pt x="35" y="102"/>
                    <a:pt x="34" y="94"/>
                    <a:pt x="34" y="86"/>
                  </a:cubicBezTo>
                  <a:cubicBezTo>
                    <a:pt x="34" y="70"/>
                    <a:pt x="40" y="58"/>
                    <a:pt x="52" y="48"/>
                  </a:cubicBezTo>
                  <a:cubicBezTo>
                    <a:pt x="63" y="39"/>
                    <a:pt x="79" y="33"/>
                    <a:pt x="96" y="33"/>
                  </a:cubicBezTo>
                  <a:cubicBezTo>
                    <a:pt x="109" y="33"/>
                    <a:pt x="121" y="36"/>
                    <a:pt x="134" y="42"/>
                  </a:cubicBezTo>
                  <a:cubicBezTo>
                    <a:pt x="145" y="48"/>
                    <a:pt x="156" y="57"/>
                    <a:pt x="163" y="67"/>
                  </a:cubicBezTo>
                  <a:lnTo>
                    <a:pt x="190" y="48"/>
                  </a:lnTo>
                </a:path>
              </a:pathLst>
            </a:cu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9" name="Freeform 115">
              <a:extLst>
                <a:ext uri="{FF2B5EF4-FFF2-40B4-BE49-F238E27FC236}">
                  <a16:creationId xmlns:a16="http://schemas.microsoft.com/office/drawing/2014/main" id="{AC7D4F21-0051-5738-17B9-BD3CE232FAA8}"/>
                </a:ext>
              </a:extLst>
            </p:cNvPr>
            <p:cNvSpPr>
              <a:spLocks/>
            </p:cNvSpPr>
            <p:nvPr/>
          </p:nvSpPr>
          <p:spPr bwMode="auto">
            <a:xfrm>
              <a:off x="8301054" y="2675434"/>
              <a:ext cx="290417" cy="352655"/>
            </a:xfrm>
            <a:custGeom>
              <a:avLst/>
              <a:gdLst>
                <a:gd name="T0" fmla="*/ 52 w 102"/>
                <a:gd name="T1" fmla="*/ 29 h 128"/>
                <a:gd name="T2" fmla="*/ 64 w 102"/>
                <a:gd name="T3" fmla="*/ 42 h 128"/>
                <a:gd name="T4" fmla="*/ 68 w 102"/>
                <a:gd name="T5" fmla="*/ 64 h 128"/>
                <a:gd name="T6" fmla="*/ 67 w 102"/>
                <a:gd name="T7" fmla="*/ 73 h 128"/>
                <a:gd name="T8" fmla="*/ 67 w 102"/>
                <a:gd name="T9" fmla="*/ 73 h 128"/>
                <a:gd name="T10" fmla="*/ 56 w 102"/>
                <a:gd name="T11" fmla="*/ 89 h 128"/>
                <a:gd name="T12" fmla="*/ 33 w 102"/>
                <a:gd name="T13" fmla="*/ 95 h 128"/>
                <a:gd name="T14" fmla="*/ 13 w 102"/>
                <a:gd name="T15" fmla="*/ 91 h 128"/>
                <a:gd name="T16" fmla="*/ 0 w 102"/>
                <a:gd name="T17" fmla="*/ 121 h 128"/>
                <a:gd name="T18" fmla="*/ 33 w 102"/>
                <a:gd name="T19" fmla="*/ 128 h 128"/>
                <a:gd name="T20" fmla="*/ 74 w 102"/>
                <a:gd name="T21" fmla="*/ 117 h 128"/>
                <a:gd name="T22" fmla="*/ 100 w 102"/>
                <a:gd name="T23" fmla="*/ 79 h 128"/>
                <a:gd name="T24" fmla="*/ 100 w 102"/>
                <a:gd name="T25" fmla="*/ 79 h 128"/>
                <a:gd name="T26" fmla="*/ 102 w 102"/>
                <a:gd name="T27" fmla="*/ 64 h 128"/>
                <a:gd name="T28" fmla="*/ 94 w 102"/>
                <a:gd name="T29" fmla="*/ 28 h 128"/>
                <a:gd name="T30" fmla="*/ 69 w 102"/>
                <a:gd name="T31" fmla="*/ 0 h 128"/>
                <a:gd name="T32" fmla="*/ 52 w 102"/>
                <a:gd name="T33" fmla="*/ 29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2" h="128">
                  <a:moveTo>
                    <a:pt x="52" y="29"/>
                  </a:moveTo>
                  <a:cubicBezTo>
                    <a:pt x="56" y="31"/>
                    <a:pt x="61" y="36"/>
                    <a:pt x="64" y="42"/>
                  </a:cubicBezTo>
                  <a:cubicBezTo>
                    <a:pt x="67" y="49"/>
                    <a:pt x="68" y="57"/>
                    <a:pt x="68" y="64"/>
                  </a:cubicBezTo>
                  <a:cubicBezTo>
                    <a:pt x="68" y="67"/>
                    <a:pt x="68" y="70"/>
                    <a:pt x="67" y="73"/>
                  </a:cubicBezTo>
                  <a:lnTo>
                    <a:pt x="67" y="73"/>
                  </a:lnTo>
                  <a:cubicBezTo>
                    <a:pt x="66" y="80"/>
                    <a:pt x="62" y="85"/>
                    <a:pt x="56" y="89"/>
                  </a:cubicBezTo>
                  <a:cubicBezTo>
                    <a:pt x="50" y="93"/>
                    <a:pt x="42" y="95"/>
                    <a:pt x="33" y="95"/>
                  </a:cubicBezTo>
                  <a:cubicBezTo>
                    <a:pt x="26" y="95"/>
                    <a:pt x="19" y="94"/>
                    <a:pt x="13" y="91"/>
                  </a:cubicBezTo>
                  <a:lnTo>
                    <a:pt x="0" y="121"/>
                  </a:lnTo>
                  <a:cubicBezTo>
                    <a:pt x="10" y="126"/>
                    <a:pt x="22" y="128"/>
                    <a:pt x="33" y="128"/>
                  </a:cubicBezTo>
                  <a:cubicBezTo>
                    <a:pt x="48" y="128"/>
                    <a:pt x="62" y="125"/>
                    <a:pt x="74" y="117"/>
                  </a:cubicBezTo>
                  <a:cubicBezTo>
                    <a:pt x="87" y="109"/>
                    <a:pt x="97" y="96"/>
                    <a:pt x="100" y="79"/>
                  </a:cubicBezTo>
                  <a:lnTo>
                    <a:pt x="100" y="79"/>
                  </a:lnTo>
                  <a:cubicBezTo>
                    <a:pt x="101" y="74"/>
                    <a:pt x="102" y="69"/>
                    <a:pt x="102" y="64"/>
                  </a:cubicBezTo>
                  <a:cubicBezTo>
                    <a:pt x="102" y="52"/>
                    <a:pt x="99" y="39"/>
                    <a:pt x="94" y="28"/>
                  </a:cubicBezTo>
                  <a:cubicBezTo>
                    <a:pt x="89" y="17"/>
                    <a:pt x="80" y="6"/>
                    <a:pt x="69" y="0"/>
                  </a:cubicBezTo>
                  <a:lnTo>
                    <a:pt x="52" y="29"/>
                  </a:lnTo>
                </a:path>
              </a:pathLst>
            </a:cu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20" name="Freeform 116">
              <a:extLst>
                <a:ext uri="{FF2B5EF4-FFF2-40B4-BE49-F238E27FC236}">
                  <a16:creationId xmlns:a16="http://schemas.microsoft.com/office/drawing/2014/main" id="{F123C977-3FF2-853E-E903-722CC816E4D2}"/>
                </a:ext>
              </a:extLst>
            </p:cNvPr>
            <p:cNvSpPr>
              <a:spLocks/>
            </p:cNvSpPr>
            <p:nvPr/>
          </p:nvSpPr>
          <p:spPr bwMode="auto">
            <a:xfrm>
              <a:off x="8695197" y="3173291"/>
              <a:ext cx="165952" cy="103727"/>
            </a:xfrm>
            <a:custGeom>
              <a:avLst/>
              <a:gdLst>
                <a:gd name="T0" fmla="*/ 29 w 61"/>
                <a:gd name="T1" fmla="*/ 0 h 44"/>
                <a:gd name="T2" fmla="*/ 37 w 61"/>
                <a:gd name="T3" fmla="*/ 3 h 44"/>
                <a:gd name="T4" fmla="*/ 29 w 61"/>
                <a:gd name="T5" fmla="*/ 0 h 44"/>
                <a:gd name="T6" fmla="*/ 29 w 61"/>
                <a:gd name="T7" fmla="*/ 0 h 44"/>
                <a:gd name="T8" fmla="*/ 37 w 61"/>
                <a:gd name="T9" fmla="*/ 3 h 44"/>
                <a:gd name="T10" fmla="*/ 29 w 61"/>
                <a:gd name="T11" fmla="*/ 0 h 44"/>
                <a:gd name="T12" fmla="*/ 25 w 61"/>
                <a:gd name="T13" fmla="*/ 6 h 44"/>
                <a:gd name="T14" fmla="*/ 21 w 61"/>
                <a:gd name="T15" fmla="*/ 9 h 44"/>
                <a:gd name="T16" fmla="*/ 16 w 61"/>
                <a:gd name="T17" fmla="*/ 10 h 44"/>
                <a:gd name="T18" fmla="*/ 9 w 61"/>
                <a:gd name="T19" fmla="*/ 9 h 44"/>
                <a:gd name="T20" fmla="*/ 0 w 61"/>
                <a:gd name="T21" fmla="*/ 41 h 44"/>
                <a:gd name="T22" fmla="*/ 16 w 61"/>
                <a:gd name="T23" fmla="*/ 44 h 44"/>
                <a:gd name="T24" fmla="*/ 37 w 61"/>
                <a:gd name="T25" fmla="*/ 38 h 44"/>
                <a:gd name="T26" fmla="*/ 55 w 61"/>
                <a:gd name="T27" fmla="*/ 22 h 44"/>
                <a:gd name="T28" fmla="*/ 61 w 61"/>
                <a:gd name="T29" fmla="*/ 12 h 44"/>
                <a:gd name="T30" fmla="*/ 29 w 61"/>
                <a:gd name="T31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1" h="44">
                  <a:moveTo>
                    <a:pt x="29" y="0"/>
                  </a:moveTo>
                  <a:lnTo>
                    <a:pt x="37" y="3"/>
                  </a:lnTo>
                  <a:lnTo>
                    <a:pt x="29" y="0"/>
                  </a:lnTo>
                  <a:lnTo>
                    <a:pt x="29" y="0"/>
                  </a:lnTo>
                  <a:lnTo>
                    <a:pt x="37" y="3"/>
                  </a:lnTo>
                  <a:lnTo>
                    <a:pt x="29" y="0"/>
                  </a:lnTo>
                  <a:cubicBezTo>
                    <a:pt x="29" y="0"/>
                    <a:pt x="28" y="4"/>
                    <a:pt x="25" y="6"/>
                  </a:cubicBezTo>
                  <a:lnTo>
                    <a:pt x="21" y="9"/>
                  </a:lnTo>
                  <a:cubicBezTo>
                    <a:pt x="20" y="10"/>
                    <a:pt x="18" y="10"/>
                    <a:pt x="16" y="10"/>
                  </a:cubicBezTo>
                  <a:cubicBezTo>
                    <a:pt x="14" y="10"/>
                    <a:pt x="12" y="10"/>
                    <a:pt x="9" y="9"/>
                  </a:cubicBezTo>
                  <a:lnTo>
                    <a:pt x="0" y="41"/>
                  </a:lnTo>
                  <a:cubicBezTo>
                    <a:pt x="5" y="43"/>
                    <a:pt x="11" y="44"/>
                    <a:pt x="16" y="44"/>
                  </a:cubicBezTo>
                  <a:cubicBezTo>
                    <a:pt x="24" y="44"/>
                    <a:pt x="31" y="42"/>
                    <a:pt x="37" y="38"/>
                  </a:cubicBezTo>
                  <a:cubicBezTo>
                    <a:pt x="46" y="34"/>
                    <a:pt x="52" y="27"/>
                    <a:pt x="55" y="22"/>
                  </a:cubicBezTo>
                  <a:cubicBezTo>
                    <a:pt x="59" y="17"/>
                    <a:pt x="60" y="13"/>
                    <a:pt x="61" y="12"/>
                  </a:cubicBez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21" name="Freeform 117">
              <a:extLst>
                <a:ext uri="{FF2B5EF4-FFF2-40B4-BE49-F238E27FC236}">
                  <a16:creationId xmlns:a16="http://schemas.microsoft.com/office/drawing/2014/main" id="{0D94843C-2667-72DB-9A00-D4830530B67B}"/>
                </a:ext>
              </a:extLst>
            </p:cNvPr>
            <p:cNvSpPr>
              <a:spLocks/>
            </p:cNvSpPr>
            <p:nvPr/>
          </p:nvSpPr>
          <p:spPr bwMode="auto">
            <a:xfrm>
              <a:off x="8778174" y="3442970"/>
              <a:ext cx="165952" cy="124464"/>
            </a:xfrm>
            <a:custGeom>
              <a:avLst/>
              <a:gdLst>
                <a:gd name="T0" fmla="*/ 57 w 57"/>
                <a:gd name="T1" fmla="*/ 0 h 48"/>
                <a:gd name="T2" fmla="*/ 54 w 57"/>
                <a:gd name="T3" fmla="*/ 0 h 48"/>
                <a:gd name="T4" fmla="*/ 32 w 57"/>
                <a:gd name="T5" fmla="*/ 4 h 48"/>
                <a:gd name="T6" fmla="*/ 0 w 57"/>
                <a:gd name="T7" fmla="*/ 25 h 48"/>
                <a:gd name="T8" fmla="*/ 24 w 57"/>
                <a:gd name="T9" fmla="*/ 48 h 48"/>
                <a:gd name="T10" fmla="*/ 43 w 57"/>
                <a:gd name="T11" fmla="*/ 36 h 48"/>
                <a:gd name="T12" fmla="*/ 54 w 57"/>
                <a:gd name="T13" fmla="*/ 34 h 48"/>
                <a:gd name="T14" fmla="*/ 55 w 57"/>
                <a:gd name="T15" fmla="*/ 34 h 48"/>
                <a:gd name="T16" fmla="*/ 55 w 57"/>
                <a:gd name="T17" fmla="*/ 25 h 48"/>
                <a:gd name="T18" fmla="*/ 54 w 57"/>
                <a:gd name="T19" fmla="*/ 34 h 48"/>
                <a:gd name="T20" fmla="*/ 55 w 57"/>
                <a:gd name="T21" fmla="*/ 34 h 48"/>
                <a:gd name="T22" fmla="*/ 55 w 57"/>
                <a:gd name="T23" fmla="*/ 25 h 48"/>
                <a:gd name="T24" fmla="*/ 54 w 57"/>
                <a:gd name="T25" fmla="*/ 34 h 48"/>
                <a:gd name="T26" fmla="*/ 57 w 57"/>
                <a:gd name="T27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48">
                  <a:moveTo>
                    <a:pt x="57" y="0"/>
                  </a:moveTo>
                  <a:lnTo>
                    <a:pt x="54" y="0"/>
                  </a:lnTo>
                  <a:cubicBezTo>
                    <a:pt x="50" y="0"/>
                    <a:pt x="42" y="1"/>
                    <a:pt x="32" y="4"/>
                  </a:cubicBezTo>
                  <a:cubicBezTo>
                    <a:pt x="22" y="7"/>
                    <a:pt x="10" y="14"/>
                    <a:pt x="0" y="25"/>
                  </a:cubicBezTo>
                  <a:lnTo>
                    <a:pt x="24" y="48"/>
                  </a:lnTo>
                  <a:cubicBezTo>
                    <a:pt x="30" y="41"/>
                    <a:pt x="37" y="37"/>
                    <a:pt x="43" y="36"/>
                  </a:cubicBezTo>
                  <a:cubicBezTo>
                    <a:pt x="48" y="34"/>
                    <a:pt x="53" y="34"/>
                    <a:pt x="54" y="34"/>
                  </a:cubicBezTo>
                  <a:lnTo>
                    <a:pt x="55" y="34"/>
                  </a:lnTo>
                  <a:lnTo>
                    <a:pt x="55" y="25"/>
                  </a:lnTo>
                  <a:lnTo>
                    <a:pt x="54" y="34"/>
                  </a:lnTo>
                  <a:lnTo>
                    <a:pt x="55" y="34"/>
                  </a:lnTo>
                  <a:lnTo>
                    <a:pt x="55" y="25"/>
                  </a:lnTo>
                  <a:lnTo>
                    <a:pt x="54" y="34"/>
                  </a:lnTo>
                  <a:lnTo>
                    <a:pt x="57" y="0"/>
                  </a:lnTo>
                </a:path>
              </a:pathLst>
            </a:cu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EB3FCE33-3A5D-960B-9549-C1B871F36DC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71865" y="2633946"/>
              <a:ext cx="1410595" cy="2344083"/>
            </a:xfrm>
            <a:custGeom>
              <a:avLst/>
              <a:gdLst>
                <a:gd name="connsiteX0" fmla="*/ 405704 w 1410595"/>
                <a:gd name="connsiteY0" fmla="*/ 1980833 h 2344083"/>
                <a:gd name="connsiteX1" fmla="*/ 405714 w 1410595"/>
                <a:gd name="connsiteY1" fmla="*/ 1980834 h 2344083"/>
                <a:gd name="connsiteX2" fmla="*/ 405714 w 1410595"/>
                <a:gd name="connsiteY2" fmla="*/ 1980991 h 2344083"/>
                <a:gd name="connsiteX3" fmla="*/ 1321080 w 1410595"/>
                <a:gd name="connsiteY3" fmla="*/ 1846226 h 2344083"/>
                <a:gd name="connsiteX4" fmla="*/ 1409824 w 1410595"/>
                <a:gd name="connsiteY4" fmla="*/ 1846226 h 2344083"/>
                <a:gd name="connsiteX5" fmla="*/ 1410595 w 1410595"/>
                <a:gd name="connsiteY5" fmla="*/ 1871529 h 2344083"/>
                <a:gd name="connsiteX6" fmla="*/ 1321929 w 1410595"/>
                <a:gd name="connsiteY6" fmla="*/ 2183895 h 2344083"/>
                <a:gd name="connsiteX7" fmla="*/ 1066679 w 1410595"/>
                <a:gd name="connsiteY7" fmla="*/ 2304036 h 2344083"/>
                <a:gd name="connsiteX8" fmla="*/ 998743 w 1410595"/>
                <a:gd name="connsiteY8" fmla="*/ 2295854 h 2344083"/>
                <a:gd name="connsiteX9" fmla="*/ 1021002 w 1410595"/>
                <a:gd name="connsiteY9" fmla="*/ 2280008 h 2344083"/>
                <a:gd name="connsiteX10" fmla="*/ 988760 w 1410595"/>
                <a:gd name="connsiteY10" fmla="*/ 2250640 h 2344083"/>
                <a:gd name="connsiteX11" fmla="*/ 978013 w 1410595"/>
                <a:gd name="connsiteY11" fmla="*/ 2293357 h 2344083"/>
                <a:gd name="connsiteX12" fmla="*/ 988760 w 1410595"/>
                <a:gd name="connsiteY12" fmla="*/ 2294652 h 2344083"/>
                <a:gd name="connsiteX13" fmla="*/ 998743 w 1410595"/>
                <a:gd name="connsiteY13" fmla="*/ 2295854 h 2344083"/>
                <a:gd name="connsiteX14" fmla="*/ 953495 w 1410595"/>
                <a:gd name="connsiteY14" fmla="*/ 2328064 h 2344083"/>
                <a:gd name="connsiteX15" fmla="*/ 875913 w 1410595"/>
                <a:gd name="connsiteY15" fmla="*/ 2344083 h 2344083"/>
                <a:gd name="connsiteX16" fmla="*/ 744803 w 1410595"/>
                <a:gd name="connsiteY16" fmla="*/ 2292273 h 2344083"/>
                <a:gd name="connsiteX17" fmla="*/ 739855 w 1410595"/>
                <a:gd name="connsiteY17" fmla="*/ 2286393 h 2344083"/>
                <a:gd name="connsiteX18" fmla="*/ 779186 w 1410595"/>
                <a:gd name="connsiteY18" fmla="*/ 2263989 h 2344083"/>
                <a:gd name="connsiteX19" fmla="*/ 749631 w 1410595"/>
                <a:gd name="connsiteY19" fmla="*/ 2229282 h 2344083"/>
                <a:gd name="connsiteX20" fmla="*/ 712015 w 1410595"/>
                <a:gd name="connsiteY20" fmla="*/ 2253310 h 2344083"/>
                <a:gd name="connsiteX21" fmla="*/ 739855 w 1410595"/>
                <a:gd name="connsiteY21" fmla="*/ 2286393 h 2344083"/>
                <a:gd name="connsiteX22" fmla="*/ 726457 w 1410595"/>
                <a:gd name="connsiteY22" fmla="*/ 2294024 h 2344083"/>
                <a:gd name="connsiteX23" fmla="*/ 671712 w 1410595"/>
                <a:gd name="connsiteY23" fmla="*/ 2304036 h 2344083"/>
                <a:gd name="connsiteX24" fmla="*/ 558865 w 1410595"/>
                <a:gd name="connsiteY24" fmla="*/ 2258650 h 2344083"/>
                <a:gd name="connsiteX25" fmla="*/ 511635 w 1410595"/>
                <a:gd name="connsiteY25" fmla="*/ 2179432 h 2344083"/>
                <a:gd name="connsiteX26" fmla="*/ 509043 w 1410595"/>
                <a:gd name="connsiteY26" fmla="*/ 2157103 h 2344083"/>
                <a:gd name="connsiteX27" fmla="*/ 537370 w 1410595"/>
                <a:gd name="connsiteY27" fmla="*/ 2162537 h 2344083"/>
                <a:gd name="connsiteX28" fmla="*/ 561551 w 1410595"/>
                <a:gd name="connsiteY28" fmla="*/ 2159867 h 2344083"/>
                <a:gd name="connsiteX29" fmla="*/ 556178 w 1410595"/>
                <a:gd name="connsiteY29" fmla="*/ 2117150 h 2344083"/>
                <a:gd name="connsiteX30" fmla="*/ 513188 w 1410595"/>
                <a:gd name="connsiteY30" fmla="*/ 2106471 h 2344083"/>
                <a:gd name="connsiteX31" fmla="*/ 507814 w 1410595"/>
                <a:gd name="connsiteY31" fmla="*/ 2146518 h 2344083"/>
                <a:gd name="connsiteX32" fmla="*/ 509043 w 1410595"/>
                <a:gd name="connsiteY32" fmla="*/ 2157103 h 2344083"/>
                <a:gd name="connsiteX33" fmla="*/ 469527 w 1410595"/>
                <a:gd name="connsiteY33" fmla="*/ 2149522 h 2344083"/>
                <a:gd name="connsiteX34" fmla="*/ 413775 w 1410595"/>
                <a:gd name="connsiteY34" fmla="*/ 2114480 h 2344083"/>
                <a:gd name="connsiteX35" fmla="*/ 376159 w 1410595"/>
                <a:gd name="connsiteY35" fmla="*/ 2060417 h 2344083"/>
                <a:gd name="connsiteX36" fmla="*/ 368430 w 1410595"/>
                <a:gd name="connsiteY36" fmla="*/ 2022401 h 2344083"/>
                <a:gd name="connsiteX37" fmla="*/ 405714 w 1410595"/>
                <a:gd name="connsiteY37" fmla="*/ 2026377 h 2344083"/>
                <a:gd name="connsiteX38" fmla="*/ 408401 w 1410595"/>
                <a:gd name="connsiteY38" fmla="*/ 2026377 h 2344083"/>
                <a:gd name="connsiteX39" fmla="*/ 411088 w 1410595"/>
                <a:gd name="connsiteY39" fmla="*/ 2026377 h 2344083"/>
                <a:gd name="connsiteX40" fmla="*/ 408401 w 1410595"/>
                <a:gd name="connsiteY40" fmla="*/ 1980991 h 2344083"/>
                <a:gd name="connsiteX41" fmla="*/ 405714 w 1410595"/>
                <a:gd name="connsiteY41" fmla="*/ 1980834 h 2344083"/>
                <a:gd name="connsiteX42" fmla="*/ 405714 w 1410595"/>
                <a:gd name="connsiteY42" fmla="*/ 1938274 h 2344083"/>
                <a:gd name="connsiteX43" fmla="*/ 404892 w 1410595"/>
                <a:gd name="connsiteY43" fmla="*/ 1938088 h 2344083"/>
                <a:gd name="connsiteX44" fmla="*/ 456764 w 1410595"/>
                <a:gd name="connsiteY44" fmla="*/ 1932934 h 2344083"/>
                <a:gd name="connsiteX45" fmla="*/ 451391 w 1410595"/>
                <a:gd name="connsiteY45" fmla="*/ 1986330 h 2344083"/>
                <a:gd name="connsiteX46" fmla="*/ 451391 w 1410595"/>
                <a:gd name="connsiteY46" fmla="*/ 1994340 h 2344083"/>
                <a:gd name="connsiteX47" fmla="*/ 475572 w 1410595"/>
                <a:gd name="connsiteY47" fmla="*/ 2047736 h 2344083"/>
                <a:gd name="connsiteX48" fmla="*/ 537370 w 1410595"/>
                <a:gd name="connsiteY48" fmla="*/ 2074434 h 2344083"/>
                <a:gd name="connsiteX49" fmla="*/ 550804 w 1410595"/>
                <a:gd name="connsiteY49" fmla="*/ 2071764 h 2344083"/>
                <a:gd name="connsiteX50" fmla="*/ 615288 w 1410595"/>
                <a:gd name="connsiteY50" fmla="*/ 2063754 h 2344083"/>
                <a:gd name="connsiteX51" fmla="*/ 599167 w 1410595"/>
                <a:gd name="connsiteY51" fmla="*/ 2127829 h 2344083"/>
                <a:gd name="connsiteX52" fmla="*/ 596480 w 1410595"/>
                <a:gd name="connsiteY52" fmla="*/ 2146518 h 2344083"/>
                <a:gd name="connsiteX53" fmla="*/ 617975 w 1410595"/>
                <a:gd name="connsiteY53" fmla="*/ 2194574 h 2344083"/>
                <a:gd name="connsiteX54" fmla="*/ 671712 w 1410595"/>
                <a:gd name="connsiteY54" fmla="*/ 2213263 h 2344083"/>
                <a:gd name="connsiteX55" fmla="*/ 720075 w 1410595"/>
                <a:gd name="connsiteY55" fmla="*/ 2197244 h 2344083"/>
                <a:gd name="connsiteX56" fmla="*/ 757691 w 1410595"/>
                <a:gd name="connsiteY56" fmla="*/ 2162537 h 2344083"/>
                <a:gd name="connsiteX57" fmla="*/ 784560 w 1410595"/>
                <a:gd name="connsiteY57" fmla="*/ 2205254 h 2344083"/>
                <a:gd name="connsiteX58" fmla="*/ 875913 w 1410595"/>
                <a:gd name="connsiteY58" fmla="*/ 2255980 h 2344083"/>
                <a:gd name="connsiteX59" fmla="*/ 953831 w 1410595"/>
                <a:gd name="connsiteY59" fmla="*/ 2221272 h 2344083"/>
                <a:gd name="connsiteX60" fmla="*/ 967265 w 1410595"/>
                <a:gd name="connsiteY60" fmla="*/ 2205254 h 2344083"/>
                <a:gd name="connsiteX61" fmla="*/ 988760 w 1410595"/>
                <a:gd name="connsiteY61" fmla="*/ 2205254 h 2344083"/>
                <a:gd name="connsiteX62" fmla="*/ 991447 w 1410595"/>
                <a:gd name="connsiteY62" fmla="*/ 2205254 h 2344083"/>
                <a:gd name="connsiteX63" fmla="*/ 996821 w 1410595"/>
                <a:gd name="connsiteY63" fmla="*/ 2207923 h 2344083"/>
                <a:gd name="connsiteX64" fmla="*/ 1066679 w 1410595"/>
                <a:gd name="connsiteY64" fmla="*/ 2213263 h 2344083"/>
                <a:gd name="connsiteX65" fmla="*/ 1252071 w 1410595"/>
                <a:gd name="connsiteY65" fmla="*/ 2127829 h 2344083"/>
                <a:gd name="connsiteX66" fmla="*/ 1321929 w 1410595"/>
                <a:gd name="connsiteY66" fmla="*/ 1871529 h 2344083"/>
                <a:gd name="connsiteX67" fmla="*/ 752318 w 1410595"/>
                <a:gd name="connsiteY67" fmla="*/ 0 h 2344083"/>
                <a:gd name="connsiteX68" fmla="*/ 893629 w 1410595"/>
                <a:gd name="connsiteY68" fmla="*/ 60822 h 2344083"/>
                <a:gd name="connsiteX69" fmla="*/ 908534 w 1410595"/>
                <a:gd name="connsiteY69" fmla="*/ 81378 h 2344083"/>
                <a:gd name="connsiteX70" fmla="*/ 878599 w 1410595"/>
                <a:gd name="connsiteY70" fmla="*/ 85434 h 2344083"/>
                <a:gd name="connsiteX71" fmla="*/ 886660 w 1410595"/>
                <a:gd name="connsiteY71" fmla="*/ 128150 h 2344083"/>
                <a:gd name="connsiteX72" fmla="*/ 926963 w 1410595"/>
                <a:gd name="connsiteY72" fmla="*/ 106792 h 2344083"/>
                <a:gd name="connsiteX73" fmla="*/ 908534 w 1410595"/>
                <a:gd name="connsiteY73" fmla="*/ 81378 h 2344083"/>
                <a:gd name="connsiteX74" fmla="*/ 937710 w 1410595"/>
                <a:gd name="connsiteY74" fmla="*/ 77424 h 2344083"/>
                <a:gd name="connsiteX75" fmla="*/ 1123102 w 1410595"/>
                <a:gd name="connsiteY75" fmla="*/ 157518 h 2344083"/>
                <a:gd name="connsiteX76" fmla="*/ 1198334 w 1410595"/>
                <a:gd name="connsiteY76" fmla="*/ 336395 h 2344083"/>
                <a:gd name="connsiteX77" fmla="*/ 1185908 w 1410595"/>
                <a:gd name="connsiteY77" fmla="*/ 412150 h 2344083"/>
                <a:gd name="connsiteX78" fmla="*/ 1178382 w 1410595"/>
                <a:gd name="connsiteY78" fmla="*/ 426521 h 2344083"/>
                <a:gd name="connsiteX79" fmla="*/ 1165127 w 1410595"/>
                <a:gd name="connsiteY79" fmla="*/ 421578 h 2344083"/>
                <a:gd name="connsiteX80" fmla="*/ 1112355 w 1410595"/>
                <a:gd name="connsiteY80" fmla="*/ 413819 h 2344083"/>
                <a:gd name="connsiteX81" fmla="*/ 1109668 w 1410595"/>
                <a:gd name="connsiteY81" fmla="*/ 459205 h 2344083"/>
                <a:gd name="connsiteX82" fmla="*/ 1147284 w 1410595"/>
                <a:gd name="connsiteY82" fmla="*/ 485903 h 2344083"/>
                <a:gd name="connsiteX83" fmla="*/ 1178382 w 1410595"/>
                <a:gd name="connsiteY83" fmla="*/ 426521 h 2344083"/>
                <a:gd name="connsiteX84" fmla="*/ 1214120 w 1410595"/>
                <a:gd name="connsiteY84" fmla="*/ 439849 h 2344083"/>
                <a:gd name="connsiteX85" fmla="*/ 1297748 w 1410595"/>
                <a:gd name="connsiteY85" fmla="*/ 501922 h 2344083"/>
                <a:gd name="connsiteX86" fmla="*/ 1358538 w 1410595"/>
                <a:gd name="connsiteY86" fmla="*/ 590693 h 2344083"/>
                <a:gd name="connsiteX87" fmla="*/ 1368598 w 1410595"/>
                <a:gd name="connsiteY87" fmla="*/ 622321 h 2344083"/>
                <a:gd name="connsiteX88" fmla="*/ 1274100 w 1410595"/>
                <a:gd name="connsiteY88" fmla="*/ 622321 h 2344083"/>
                <a:gd name="connsiteX89" fmla="*/ 1233263 w 1410595"/>
                <a:gd name="connsiteY89" fmla="*/ 563328 h 2344083"/>
                <a:gd name="connsiteX90" fmla="*/ 1109668 w 1410595"/>
                <a:gd name="connsiteY90" fmla="*/ 504592 h 2344083"/>
                <a:gd name="connsiteX91" fmla="*/ 1023689 w 1410595"/>
                <a:gd name="connsiteY91" fmla="*/ 499252 h 2344083"/>
                <a:gd name="connsiteX92" fmla="*/ 1074739 w 1410595"/>
                <a:gd name="connsiteY92" fmla="*/ 432507 h 2344083"/>
                <a:gd name="connsiteX93" fmla="*/ 1109668 w 1410595"/>
                <a:gd name="connsiteY93" fmla="*/ 336395 h 2344083"/>
                <a:gd name="connsiteX94" fmla="*/ 1058618 w 1410595"/>
                <a:gd name="connsiteY94" fmla="*/ 218924 h 2344083"/>
                <a:gd name="connsiteX95" fmla="*/ 937710 w 1410595"/>
                <a:gd name="connsiteY95" fmla="*/ 165528 h 2344083"/>
                <a:gd name="connsiteX96" fmla="*/ 897407 w 1410595"/>
                <a:gd name="connsiteY96" fmla="*/ 170867 h 2344083"/>
                <a:gd name="connsiteX97" fmla="*/ 865165 w 1410595"/>
                <a:gd name="connsiteY97" fmla="*/ 178877 h 2344083"/>
                <a:gd name="connsiteX98" fmla="*/ 849044 w 1410595"/>
                <a:gd name="connsiteY98" fmla="*/ 149509 h 2344083"/>
                <a:gd name="connsiteX99" fmla="*/ 752318 w 1410595"/>
                <a:gd name="connsiteY99" fmla="*/ 88103 h 2344083"/>
                <a:gd name="connsiteX100" fmla="*/ 674399 w 1410595"/>
                <a:gd name="connsiteY100" fmla="*/ 122811 h 2344083"/>
                <a:gd name="connsiteX101" fmla="*/ 658278 w 1410595"/>
                <a:gd name="connsiteY101" fmla="*/ 141499 h 2344083"/>
                <a:gd name="connsiteX102" fmla="*/ 631409 w 1410595"/>
                <a:gd name="connsiteY102" fmla="*/ 133490 h 2344083"/>
                <a:gd name="connsiteX103" fmla="*/ 593794 w 1410595"/>
                <a:gd name="connsiteY103" fmla="*/ 130820 h 2344083"/>
                <a:gd name="connsiteX104" fmla="*/ 491693 w 1410595"/>
                <a:gd name="connsiteY104" fmla="*/ 173537 h 2344083"/>
                <a:gd name="connsiteX105" fmla="*/ 446017 w 1410595"/>
                <a:gd name="connsiteY105" fmla="*/ 280329 h 2344083"/>
                <a:gd name="connsiteX106" fmla="*/ 446017 w 1410595"/>
                <a:gd name="connsiteY106" fmla="*/ 291008 h 2344083"/>
                <a:gd name="connsiteX107" fmla="*/ 451391 w 1410595"/>
                <a:gd name="connsiteY107" fmla="*/ 323046 h 2344083"/>
                <a:gd name="connsiteX108" fmla="*/ 421835 w 1410595"/>
                <a:gd name="connsiteY108" fmla="*/ 336395 h 2344083"/>
                <a:gd name="connsiteX109" fmla="*/ 327796 w 1410595"/>
                <a:gd name="connsiteY109" fmla="*/ 483234 h 2344083"/>
                <a:gd name="connsiteX110" fmla="*/ 338543 w 1410595"/>
                <a:gd name="connsiteY110" fmla="*/ 539299 h 2344083"/>
                <a:gd name="connsiteX111" fmla="*/ 351977 w 1410595"/>
                <a:gd name="connsiteY111" fmla="*/ 579346 h 2344083"/>
                <a:gd name="connsiteX112" fmla="*/ 311675 w 1410595"/>
                <a:gd name="connsiteY112" fmla="*/ 595365 h 2344083"/>
                <a:gd name="connsiteX113" fmla="*/ 198827 w 1410595"/>
                <a:gd name="connsiteY113" fmla="*/ 752883 h 2344083"/>
                <a:gd name="connsiteX114" fmla="*/ 217635 w 1410595"/>
                <a:gd name="connsiteY114" fmla="*/ 830307 h 2344083"/>
                <a:gd name="connsiteX115" fmla="*/ 239130 w 1410595"/>
                <a:gd name="connsiteY115" fmla="*/ 873024 h 2344083"/>
                <a:gd name="connsiteX116" fmla="*/ 196140 w 1410595"/>
                <a:gd name="connsiteY116" fmla="*/ 891713 h 2344083"/>
                <a:gd name="connsiteX117" fmla="*/ 91353 w 1410595"/>
                <a:gd name="connsiteY117" fmla="*/ 1065250 h 2344083"/>
                <a:gd name="connsiteX118" fmla="*/ 161211 w 1410595"/>
                <a:gd name="connsiteY118" fmla="*/ 1217428 h 2344083"/>
                <a:gd name="connsiteX119" fmla="*/ 198827 w 1410595"/>
                <a:gd name="connsiteY119" fmla="*/ 1246796 h 2344083"/>
                <a:gd name="connsiteX120" fmla="*/ 163898 w 1410595"/>
                <a:gd name="connsiteY120" fmla="*/ 1281503 h 2344083"/>
                <a:gd name="connsiteX121" fmla="*/ 131656 w 1410595"/>
                <a:gd name="connsiteY121" fmla="*/ 1358928 h 2344083"/>
                <a:gd name="connsiteX122" fmla="*/ 190766 w 1410595"/>
                <a:gd name="connsiteY122" fmla="*/ 1452371 h 2344083"/>
                <a:gd name="connsiteX123" fmla="*/ 231069 w 1410595"/>
                <a:gd name="connsiteY123" fmla="*/ 1473729 h 2344083"/>
                <a:gd name="connsiteX124" fmla="*/ 212261 w 1410595"/>
                <a:gd name="connsiteY124" fmla="*/ 1511106 h 2344083"/>
                <a:gd name="connsiteX125" fmla="*/ 198827 w 1410595"/>
                <a:gd name="connsiteY125" fmla="*/ 1572511 h 2344083"/>
                <a:gd name="connsiteX126" fmla="*/ 225695 w 1410595"/>
                <a:gd name="connsiteY126" fmla="*/ 1655275 h 2344083"/>
                <a:gd name="connsiteX127" fmla="*/ 295553 w 1410595"/>
                <a:gd name="connsiteY127" fmla="*/ 1700662 h 2344083"/>
                <a:gd name="connsiteX128" fmla="*/ 360038 w 1410595"/>
                <a:gd name="connsiteY128" fmla="*/ 1711341 h 2344083"/>
                <a:gd name="connsiteX129" fmla="*/ 322422 w 1410595"/>
                <a:gd name="connsiteY129" fmla="*/ 1767407 h 2344083"/>
                <a:gd name="connsiteX130" fmla="*/ 306301 w 1410595"/>
                <a:gd name="connsiteY130" fmla="*/ 1828812 h 2344083"/>
                <a:gd name="connsiteX131" fmla="*/ 335856 w 1410595"/>
                <a:gd name="connsiteY131" fmla="*/ 1906236 h 2344083"/>
                <a:gd name="connsiteX132" fmla="*/ 365747 w 1410595"/>
                <a:gd name="connsiteY132" fmla="*/ 1929263 h 2344083"/>
                <a:gd name="connsiteX133" fmla="*/ 404892 w 1410595"/>
                <a:gd name="connsiteY133" fmla="*/ 1938088 h 2344083"/>
                <a:gd name="connsiteX134" fmla="*/ 403027 w 1410595"/>
                <a:gd name="connsiteY134" fmla="*/ 1938274 h 2344083"/>
                <a:gd name="connsiteX135" fmla="*/ 405704 w 1410595"/>
                <a:gd name="connsiteY135" fmla="*/ 1980833 h 2344083"/>
                <a:gd name="connsiteX136" fmla="*/ 362725 w 1410595"/>
                <a:gd name="connsiteY136" fmla="*/ 1978321 h 2344083"/>
                <a:gd name="connsiteX137" fmla="*/ 362725 w 1410595"/>
                <a:gd name="connsiteY137" fmla="*/ 1994340 h 2344083"/>
                <a:gd name="connsiteX138" fmla="*/ 368430 w 1410595"/>
                <a:gd name="connsiteY138" fmla="*/ 2022401 h 2344083"/>
                <a:gd name="connsiteX139" fmla="*/ 365034 w 1410595"/>
                <a:gd name="connsiteY139" fmla="*/ 2022039 h 2344083"/>
                <a:gd name="connsiteX140" fmla="*/ 268685 w 1410595"/>
                <a:gd name="connsiteY140" fmla="*/ 1964972 h 2344083"/>
                <a:gd name="connsiteX141" fmla="*/ 214948 w 1410595"/>
                <a:gd name="connsiteY141" fmla="*/ 1828812 h 2344083"/>
                <a:gd name="connsiteX142" fmla="*/ 223009 w 1410595"/>
                <a:gd name="connsiteY142" fmla="*/ 1773080 h 2344083"/>
                <a:gd name="connsiteX143" fmla="*/ 225897 w 1410595"/>
                <a:gd name="connsiteY143" fmla="*/ 1766662 h 2344083"/>
                <a:gd name="connsiteX144" fmla="*/ 276746 w 1410595"/>
                <a:gd name="connsiteY144" fmla="*/ 1786095 h 2344083"/>
                <a:gd name="connsiteX145" fmla="*/ 284806 w 1410595"/>
                <a:gd name="connsiteY145" fmla="*/ 1743379 h 2344083"/>
                <a:gd name="connsiteX146" fmla="*/ 247190 w 1410595"/>
                <a:gd name="connsiteY146" fmla="*/ 1719350 h 2344083"/>
                <a:gd name="connsiteX147" fmla="*/ 225897 w 1410595"/>
                <a:gd name="connsiteY147" fmla="*/ 1766662 h 2344083"/>
                <a:gd name="connsiteX148" fmla="*/ 206887 w 1410595"/>
                <a:gd name="connsiteY148" fmla="*/ 1759398 h 2344083"/>
                <a:gd name="connsiteX149" fmla="*/ 153151 w 1410595"/>
                <a:gd name="connsiteY149" fmla="*/ 1708671 h 2344083"/>
                <a:gd name="connsiteX150" fmla="*/ 107474 w 1410595"/>
                <a:gd name="connsiteY150" fmla="*/ 1572511 h 2344083"/>
                <a:gd name="connsiteX151" fmla="*/ 113520 w 1410595"/>
                <a:gd name="connsiteY151" fmla="*/ 1523120 h 2344083"/>
                <a:gd name="connsiteX152" fmla="*/ 118568 w 1410595"/>
                <a:gd name="connsiteY152" fmla="*/ 1509370 h 2344083"/>
                <a:gd name="connsiteX153" fmla="*/ 150464 w 1410595"/>
                <a:gd name="connsiteY153" fmla="*/ 1532464 h 2344083"/>
                <a:gd name="connsiteX154" fmla="*/ 171958 w 1410595"/>
                <a:gd name="connsiteY154" fmla="*/ 1492417 h 2344083"/>
                <a:gd name="connsiteX155" fmla="*/ 131656 w 1410595"/>
                <a:gd name="connsiteY155" fmla="*/ 1473729 h 2344083"/>
                <a:gd name="connsiteX156" fmla="*/ 118568 w 1410595"/>
                <a:gd name="connsiteY156" fmla="*/ 1509370 h 2344083"/>
                <a:gd name="connsiteX157" fmla="*/ 104200 w 1410595"/>
                <a:gd name="connsiteY157" fmla="*/ 1498967 h 2344083"/>
                <a:gd name="connsiteX158" fmla="*/ 42990 w 1410595"/>
                <a:gd name="connsiteY158" fmla="*/ 1358928 h 2344083"/>
                <a:gd name="connsiteX159" fmla="*/ 57096 w 1410595"/>
                <a:gd name="connsiteY159" fmla="*/ 1284507 h 2344083"/>
                <a:gd name="connsiteX160" fmla="*/ 74728 w 1410595"/>
                <a:gd name="connsiteY160" fmla="*/ 1257670 h 2344083"/>
                <a:gd name="connsiteX161" fmla="*/ 102100 w 1410595"/>
                <a:gd name="connsiteY161" fmla="*/ 1286843 h 2344083"/>
                <a:gd name="connsiteX162" fmla="*/ 131656 w 1410595"/>
                <a:gd name="connsiteY162" fmla="*/ 1252136 h 2344083"/>
                <a:gd name="connsiteX163" fmla="*/ 99414 w 1410595"/>
                <a:gd name="connsiteY163" fmla="*/ 1220098 h 2344083"/>
                <a:gd name="connsiteX164" fmla="*/ 74728 w 1410595"/>
                <a:gd name="connsiteY164" fmla="*/ 1257670 h 2344083"/>
                <a:gd name="connsiteX165" fmla="*/ 60454 w 1410595"/>
                <a:gd name="connsiteY165" fmla="*/ 1242458 h 2344083"/>
                <a:gd name="connsiteX166" fmla="*/ 0 w 1410595"/>
                <a:gd name="connsiteY166" fmla="*/ 1065250 h 2344083"/>
                <a:gd name="connsiteX167" fmla="*/ 94460 w 1410595"/>
                <a:gd name="connsiteY167" fmla="*/ 853501 h 2344083"/>
                <a:gd name="connsiteX168" fmla="*/ 123124 w 1410595"/>
                <a:gd name="connsiteY168" fmla="*/ 834762 h 2344083"/>
                <a:gd name="connsiteX169" fmla="*/ 137029 w 1410595"/>
                <a:gd name="connsiteY169" fmla="*/ 873024 h 2344083"/>
                <a:gd name="connsiteX170" fmla="*/ 177332 w 1410595"/>
                <a:gd name="connsiteY170" fmla="*/ 851666 h 2344083"/>
                <a:gd name="connsiteX171" fmla="*/ 158524 w 1410595"/>
                <a:gd name="connsiteY171" fmla="*/ 811619 h 2344083"/>
                <a:gd name="connsiteX172" fmla="*/ 123124 w 1410595"/>
                <a:gd name="connsiteY172" fmla="*/ 834762 h 2344083"/>
                <a:gd name="connsiteX173" fmla="*/ 115199 w 1410595"/>
                <a:gd name="connsiteY173" fmla="*/ 812954 h 2344083"/>
                <a:gd name="connsiteX174" fmla="*/ 107474 w 1410595"/>
                <a:gd name="connsiteY174" fmla="*/ 752883 h 2344083"/>
                <a:gd name="connsiteX175" fmla="*/ 207223 w 1410595"/>
                <a:gd name="connsiteY175" fmla="*/ 550146 h 2344083"/>
                <a:gd name="connsiteX176" fmla="*/ 243238 w 1410595"/>
                <a:gd name="connsiteY176" fmla="*/ 530089 h 2344083"/>
                <a:gd name="connsiteX177" fmla="*/ 252564 w 1410595"/>
                <a:gd name="connsiteY177" fmla="*/ 565997 h 2344083"/>
                <a:gd name="connsiteX178" fmla="*/ 295553 w 1410595"/>
                <a:gd name="connsiteY178" fmla="*/ 552648 h 2344083"/>
                <a:gd name="connsiteX179" fmla="*/ 279432 w 1410595"/>
                <a:gd name="connsiteY179" fmla="*/ 509932 h 2344083"/>
                <a:gd name="connsiteX180" fmla="*/ 243238 w 1410595"/>
                <a:gd name="connsiteY180" fmla="*/ 530089 h 2344083"/>
                <a:gd name="connsiteX181" fmla="*/ 241817 w 1410595"/>
                <a:gd name="connsiteY181" fmla="*/ 524616 h 2344083"/>
                <a:gd name="connsiteX182" fmla="*/ 239130 w 1410595"/>
                <a:gd name="connsiteY182" fmla="*/ 483234 h 2344083"/>
                <a:gd name="connsiteX183" fmla="*/ 324143 w 1410595"/>
                <a:gd name="connsiteY183" fmla="*/ 292510 h 2344083"/>
                <a:gd name="connsiteX184" fmla="*/ 358347 w 1410595"/>
                <a:gd name="connsiteY184" fmla="*/ 270374 h 2344083"/>
                <a:gd name="connsiteX185" fmla="*/ 357351 w 1410595"/>
                <a:gd name="connsiteY185" fmla="*/ 280329 h 2344083"/>
                <a:gd name="connsiteX186" fmla="*/ 357351 w 1410595"/>
                <a:gd name="connsiteY186" fmla="*/ 299018 h 2344083"/>
                <a:gd name="connsiteX187" fmla="*/ 403027 w 1410595"/>
                <a:gd name="connsiteY187" fmla="*/ 293678 h 2344083"/>
                <a:gd name="connsiteX188" fmla="*/ 384219 w 1410595"/>
                <a:gd name="connsiteY188" fmla="*/ 253631 h 2344083"/>
                <a:gd name="connsiteX189" fmla="*/ 358347 w 1410595"/>
                <a:gd name="connsiteY189" fmla="*/ 270374 h 2344083"/>
                <a:gd name="connsiteX190" fmla="*/ 362221 w 1410595"/>
                <a:gd name="connsiteY190" fmla="*/ 231678 h 2344083"/>
                <a:gd name="connsiteX191" fmla="*/ 593794 w 1410595"/>
                <a:gd name="connsiteY191" fmla="*/ 40047 h 2344083"/>
                <a:gd name="connsiteX192" fmla="*/ 633696 w 1410595"/>
                <a:gd name="connsiteY192" fmla="*/ 45219 h 2344083"/>
                <a:gd name="connsiteX193" fmla="*/ 609915 w 1410595"/>
                <a:gd name="connsiteY193" fmla="*/ 61405 h 2344083"/>
                <a:gd name="connsiteX194" fmla="*/ 642157 w 1410595"/>
                <a:gd name="connsiteY194" fmla="*/ 90773 h 2344083"/>
                <a:gd name="connsiteX195" fmla="*/ 655591 w 1410595"/>
                <a:gd name="connsiteY195" fmla="*/ 48056 h 2344083"/>
                <a:gd name="connsiteX196" fmla="*/ 633696 w 1410595"/>
                <a:gd name="connsiteY196" fmla="*/ 45219 h 2344083"/>
                <a:gd name="connsiteX197" fmla="*/ 677086 w 1410595"/>
                <a:gd name="connsiteY197" fmla="*/ 15685 h 2344083"/>
                <a:gd name="connsiteX198" fmla="*/ 752318 w 1410595"/>
                <a:gd name="connsiteY198" fmla="*/ 0 h 2344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</a:cxnLst>
              <a:rect l="l" t="t" r="r" b="b"/>
              <a:pathLst>
                <a:path w="1410595" h="2344083">
                  <a:moveTo>
                    <a:pt x="405704" y="1980833"/>
                  </a:moveTo>
                  <a:lnTo>
                    <a:pt x="405714" y="1980834"/>
                  </a:lnTo>
                  <a:lnTo>
                    <a:pt x="405714" y="1980991"/>
                  </a:lnTo>
                  <a:close/>
                  <a:moveTo>
                    <a:pt x="1321080" y="1846226"/>
                  </a:moveTo>
                  <a:lnTo>
                    <a:pt x="1409824" y="1846226"/>
                  </a:lnTo>
                  <a:lnTo>
                    <a:pt x="1410595" y="1871529"/>
                  </a:lnTo>
                  <a:cubicBezTo>
                    <a:pt x="1410595" y="1999679"/>
                    <a:pt x="1381040" y="2106471"/>
                    <a:pt x="1321929" y="2183895"/>
                  </a:cubicBezTo>
                  <a:cubicBezTo>
                    <a:pt x="1262819" y="2261319"/>
                    <a:pt x="1171466" y="2304036"/>
                    <a:pt x="1066679" y="2304036"/>
                  </a:cubicBezTo>
                  <a:lnTo>
                    <a:pt x="998743" y="2295854"/>
                  </a:lnTo>
                  <a:lnTo>
                    <a:pt x="1021002" y="2280008"/>
                  </a:lnTo>
                  <a:lnTo>
                    <a:pt x="988760" y="2250640"/>
                  </a:lnTo>
                  <a:lnTo>
                    <a:pt x="978013" y="2293357"/>
                  </a:lnTo>
                  <a:lnTo>
                    <a:pt x="988760" y="2294652"/>
                  </a:lnTo>
                  <a:lnTo>
                    <a:pt x="998743" y="2295854"/>
                  </a:lnTo>
                  <a:lnTo>
                    <a:pt x="953495" y="2328064"/>
                  </a:lnTo>
                  <a:cubicBezTo>
                    <a:pt x="928978" y="2338744"/>
                    <a:pt x="902781" y="2344083"/>
                    <a:pt x="875913" y="2344083"/>
                  </a:cubicBezTo>
                  <a:cubicBezTo>
                    <a:pt x="829565" y="2344083"/>
                    <a:pt x="781705" y="2326062"/>
                    <a:pt x="744803" y="2292273"/>
                  </a:cubicBezTo>
                  <a:lnTo>
                    <a:pt x="739855" y="2286393"/>
                  </a:lnTo>
                  <a:lnTo>
                    <a:pt x="779186" y="2263989"/>
                  </a:lnTo>
                  <a:lnTo>
                    <a:pt x="749631" y="2229282"/>
                  </a:lnTo>
                  <a:lnTo>
                    <a:pt x="712015" y="2253310"/>
                  </a:lnTo>
                  <a:lnTo>
                    <a:pt x="739855" y="2286393"/>
                  </a:lnTo>
                  <a:lnTo>
                    <a:pt x="726457" y="2294024"/>
                  </a:lnTo>
                  <a:cubicBezTo>
                    <a:pt x="707985" y="2300699"/>
                    <a:pt x="689177" y="2304036"/>
                    <a:pt x="671712" y="2304036"/>
                  </a:cubicBezTo>
                  <a:cubicBezTo>
                    <a:pt x="628723" y="2304036"/>
                    <a:pt x="588420" y="2288017"/>
                    <a:pt x="558865" y="2258650"/>
                  </a:cubicBezTo>
                  <a:cubicBezTo>
                    <a:pt x="536698" y="2238626"/>
                    <a:pt x="519066" y="2211094"/>
                    <a:pt x="511635" y="2179432"/>
                  </a:cubicBezTo>
                  <a:lnTo>
                    <a:pt x="509043" y="2157103"/>
                  </a:lnTo>
                  <a:lnTo>
                    <a:pt x="537370" y="2162537"/>
                  </a:lnTo>
                  <a:cubicBezTo>
                    <a:pt x="545430" y="2162537"/>
                    <a:pt x="553491" y="2162537"/>
                    <a:pt x="561551" y="2159867"/>
                  </a:cubicBezTo>
                  <a:lnTo>
                    <a:pt x="556178" y="2117150"/>
                  </a:lnTo>
                  <a:lnTo>
                    <a:pt x="513188" y="2106471"/>
                  </a:lnTo>
                  <a:cubicBezTo>
                    <a:pt x="507814" y="2119820"/>
                    <a:pt x="507814" y="2133169"/>
                    <a:pt x="507814" y="2146518"/>
                  </a:cubicBezTo>
                  <a:lnTo>
                    <a:pt x="509043" y="2157103"/>
                  </a:lnTo>
                  <a:lnTo>
                    <a:pt x="469527" y="2149522"/>
                  </a:lnTo>
                  <a:cubicBezTo>
                    <a:pt x="448704" y="2141178"/>
                    <a:pt x="429896" y="2129164"/>
                    <a:pt x="413775" y="2114480"/>
                  </a:cubicBezTo>
                  <a:cubicBezTo>
                    <a:pt x="397654" y="2099796"/>
                    <a:pt x="384891" y="2081108"/>
                    <a:pt x="376159" y="2060417"/>
                  </a:cubicBezTo>
                  <a:lnTo>
                    <a:pt x="368430" y="2022401"/>
                  </a:lnTo>
                  <a:lnTo>
                    <a:pt x="405714" y="2026377"/>
                  </a:lnTo>
                  <a:lnTo>
                    <a:pt x="408401" y="2026377"/>
                  </a:lnTo>
                  <a:lnTo>
                    <a:pt x="411088" y="2026377"/>
                  </a:lnTo>
                  <a:lnTo>
                    <a:pt x="408401" y="1980991"/>
                  </a:lnTo>
                  <a:lnTo>
                    <a:pt x="405714" y="1980834"/>
                  </a:lnTo>
                  <a:lnTo>
                    <a:pt x="405714" y="1938274"/>
                  </a:lnTo>
                  <a:lnTo>
                    <a:pt x="404892" y="1938088"/>
                  </a:lnTo>
                  <a:lnTo>
                    <a:pt x="456764" y="1932934"/>
                  </a:lnTo>
                  <a:lnTo>
                    <a:pt x="451391" y="1986330"/>
                  </a:lnTo>
                  <a:lnTo>
                    <a:pt x="451391" y="1994340"/>
                  </a:lnTo>
                  <a:cubicBezTo>
                    <a:pt x="451391" y="2015698"/>
                    <a:pt x="459451" y="2034387"/>
                    <a:pt x="475572" y="2047736"/>
                  </a:cubicBezTo>
                  <a:cubicBezTo>
                    <a:pt x="491693" y="2063754"/>
                    <a:pt x="513188" y="2074434"/>
                    <a:pt x="537370" y="2074434"/>
                  </a:cubicBezTo>
                  <a:cubicBezTo>
                    <a:pt x="542743" y="2074434"/>
                    <a:pt x="545430" y="2074434"/>
                    <a:pt x="550804" y="2071764"/>
                  </a:cubicBezTo>
                  <a:lnTo>
                    <a:pt x="615288" y="2063754"/>
                  </a:lnTo>
                  <a:lnTo>
                    <a:pt x="599167" y="2127829"/>
                  </a:lnTo>
                  <a:cubicBezTo>
                    <a:pt x="596480" y="2133169"/>
                    <a:pt x="596480" y="2141178"/>
                    <a:pt x="596480" y="2146518"/>
                  </a:cubicBezTo>
                  <a:cubicBezTo>
                    <a:pt x="596480" y="2165207"/>
                    <a:pt x="604541" y="2181225"/>
                    <a:pt x="617975" y="2194574"/>
                  </a:cubicBezTo>
                  <a:cubicBezTo>
                    <a:pt x="631409" y="2207923"/>
                    <a:pt x="652904" y="2213263"/>
                    <a:pt x="671712" y="2213263"/>
                  </a:cubicBezTo>
                  <a:cubicBezTo>
                    <a:pt x="687833" y="2213263"/>
                    <a:pt x="703954" y="2210593"/>
                    <a:pt x="720075" y="2197244"/>
                  </a:cubicBezTo>
                  <a:lnTo>
                    <a:pt x="757691" y="2162537"/>
                  </a:lnTo>
                  <a:lnTo>
                    <a:pt x="784560" y="2205254"/>
                  </a:lnTo>
                  <a:cubicBezTo>
                    <a:pt x="808741" y="2239961"/>
                    <a:pt x="843670" y="2255980"/>
                    <a:pt x="875913" y="2255980"/>
                  </a:cubicBezTo>
                  <a:cubicBezTo>
                    <a:pt x="902781" y="2255980"/>
                    <a:pt x="932336" y="2245301"/>
                    <a:pt x="953831" y="2221272"/>
                  </a:cubicBezTo>
                  <a:lnTo>
                    <a:pt x="967265" y="2205254"/>
                  </a:lnTo>
                  <a:lnTo>
                    <a:pt x="988760" y="2205254"/>
                  </a:lnTo>
                  <a:lnTo>
                    <a:pt x="991447" y="2205254"/>
                  </a:lnTo>
                  <a:lnTo>
                    <a:pt x="996821" y="2207923"/>
                  </a:lnTo>
                  <a:cubicBezTo>
                    <a:pt x="1021002" y="2213263"/>
                    <a:pt x="1045184" y="2213263"/>
                    <a:pt x="1066679" y="2213263"/>
                  </a:cubicBezTo>
                  <a:cubicBezTo>
                    <a:pt x="1147284" y="2213263"/>
                    <a:pt x="1206395" y="2183895"/>
                    <a:pt x="1252071" y="2127829"/>
                  </a:cubicBezTo>
                  <a:cubicBezTo>
                    <a:pt x="1295061" y="2074434"/>
                    <a:pt x="1321929" y="1986330"/>
                    <a:pt x="1321929" y="1871529"/>
                  </a:cubicBezTo>
                  <a:close/>
                  <a:moveTo>
                    <a:pt x="752318" y="0"/>
                  </a:moveTo>
                  <a:cubicBezTo>
                    <a:pt x="804711" y="0"/>
                    <a:pt x="855593" y="21025"/>
                    <a:pt x="893629" y="60822"/>
                  </a:cubicBezTo>
                  <a:lnTo>
                    <a:pt x="908534" y="81378"/>
                  </a:lnTo>
                  <a:lnTo>
                    <a:pt x="878599" y="85434"/>
                  </a:lnTo>
                  <a:lnTo>
                    <a:pt x="886660" y="128150"/>
                  </a:lnTo>
                  <a:lnTo>
                    <a:pt x="926963" y="106792"/>
                  </a:lnTo>
                  <a:lnTo>
                    <a:pt x="908534" y="81378"/>
                  </a:lnTo>
                  <a:lnTo>
                    <a:pt x="937710" y="77424"/>
                  </a:lnTo>
                  <a:cubicBezTo>
                    <a:pt x="1010255" y="77424"/>
                    <a:pt x="1077426" y="109462"/>
                    <a:pt x="1123102" y="157518"/>
                  </a:cubicBezTo>
                  <a:cubicBezTo>
                    <a:pt x="1168779" y="202905"/>
                    <a:pt x="1198334" y="266980"/>
                    <a:pt x="1198334" y="336395"/>
                  </a:cubicBezTo>
                  <a:cubicBezTo>
                    <a:pt x="1198334" y="361758"/>
                    <a:pt x="1194304" y="387121"/>
                    <a:pt x="1185908" y="412150"/>
                  </a:cubicBezTo>
                  <a:lnTo>
                    <a:pt x="1178382" y="426521"/>
                  </a:lnTo>
                  <a:lnTo>
                    <a:pt x="1165127" y="421578"/>
                  </a:lnTo>
                  <a:cubicBezTo>
                    <a:pt x="1148124" y="417156"/>
                    <a:pt x="1130492" y="414486"/>
                    <a:pt x="1112355" y="413819"/>
                  </a:cubicBezTo>
                  <a:lnTo>
                    <a:pt x="1109668" y="459205"/>
                  </a:lnTo>
                  <a:lnTo>
                    <a:pt x="1147284" y="485903"/>
                  </a:lnTo>
                  <a:lnTo>
                    <a:pt x="1178382" y="426521"/>
                  </a:lnTo>
                  <a:lnTo>
                    <a:pt x="1214120" y="439849"/>
                  </a:lnTo>
                  <a:cubicBezTo>
                    <a:pt x="1245354" y="455201"/>
                    <a:pt x="1273566" y="476559"/>
                    <a:pt x="1297748" y="501922"/>
                  </a:cubicBezTo>
                  <a:cubicBezTo>
                    <a:pt x="1323273" y="527285"/>
                    <a:pt x="1344096" y="557321"/>
                    <a:pt x="1358538" y="590693"/>
                  </a:cubicBezTo>
                  <a:lnTo>
                    <a:pt x="1368598" y="622321"/>
                  </a:lnTo>
                  <a:lnTo>
                    <a:pt x="1274100" y="622321"/>
                  </a:lnTo>
                  <a:lnTo>
                    <a:pt x="1233263" y="563328"/>
                  </a:lnTo>
                  <a:cubicBezTo>
                    <a:pt x="1198334" y="528620"/>
                    <a:pt x="1152658" y="504592"/>
                    <a:pt x="1109668" y="504592"/>
                  </a:cubicBezTo>
                  <a:lnTo>
                    <a:pt x="1023689" y="499252"/>
                  </a:lnTo>
                  <a:lnTo>
                    <a:pt x="1074739" y="432507"/>
                  </a:lnTo>
                  <a:cubicBezTo>
                    <a:pt x="1098921" y="400470"/>
                    <a:pt x="1109668" y="368432"/>
                    <a:pt x="1109668" y="336395"/>
                  </a:cubicBezTo>
                  <a:cubicBezTo>
                    <a:pt x="1109668" y="293678"/>
                    <a:pt x="1090860" y="250961"/>
                    <a:pt x="1058618" y="218924"/>
                  </a:cubicBezTo>
                  <a:cubicBezTo>
                    <a:pt x="1029063" y="186886"/>
                    <a:pt x="986073" y="168197"/>
                    <a:pt x="937710" y="165528"/>
                  </a:cubicBezTo>
                  <a:cubicBezTo>
                    <a:pt x="924276" y="165528"/>
                    <a:pt x="910842" y="168197"/>
                    <a:pt x="897407" y="170867"/>
                  </a:cubicBezTo>
                  <a:lnTo>
                    <a:pt x="865165" y="178877"/>
                  </a:lnTo>
                  <a:lnTo>
                    <a:pt x="849044" y="149509"/>
                  </a:lnTo>
                  <a:cubicBezTo>
                    <a:pt x="824862" y="106792"/>
                    <a:pt x="787247" y="88103"/>
                    <a:pt x="752318" y="88103"/>
                  </a:cubicBezTo>
                  <a:cubicBezTo>
                    <a:pt x="725449" y="88103"/>
                    <a:pt x="698581" y="98783"/>
                    <a:pt x="674399" y="122811"/>
                  </a:cubicBezTo>
                  <a:lnTo>
                    <a:pt x="658278" y="141499"/>
                  </a:lnTo>
                  <a:lnTo>
                    <a:pt x="631409" y="133490"/>
                  </a:lnTo>
                  <a:cubicBezTo>
                    <a:pt x="617975" y="130820"/>
                    <a:pt x="607228" y="130820"/>
                    <a:pt x="593794" y="130820"/>
                  </a:cubicBezTo>
                  <a:cubicBezTo>
                    <a:pt x="553491" y="130820"/>
                    <a:pt x="518562" y="146839"/>
                    <a:pt x="491693" y="173537"/>
                  </a:cubicBezTo>
                  <a:cubicBezTo>
                    <a:pt x="464825" y="200235"/>
                    <a:pt x="446017" y="237612"/>
                    <a:pt x="446017" y="280329"/>
                  </a:cubicBezTo>
                  <a:cubicBezTo>
                    <a:pt x="446017" y="282999"/>
                    <a:pt x="446017" y="288338"/>
                    <a:pt x="446017" y="291008"/>
                  </a:cubicBezTo>
                  <a:lnTo>
                    <a:pt x="451391" y="323046"/>
                  </a:lnTo>
                  <a:lnTo>
                    <a:pt x="421835" y="336395"/>
                  </a:lnTo>
                  <a:cubicBezTo>
                    <a:pt x="365412" y="360423"/>
                    <a:pt x="327796" y="416489"/>
                    <a:pt x="327796" y="483234"/>
                  </a:cubicBezTo>
                  <a:cubicBezTo>
                    <a:pt x="327796" y="499252"/>
                    <a:pt x="330482" y="517941"/>
                    <a:pt x="338543" y="539299"/>
                  </a:cubicBezTo>
                  <a:lnTo>
                    <a:pt x="351977" y="579346"/>
                  </a:lnTo>
                  <a:lnTo>
                    <a:pt x="311675" y="595365"/>
                  </a:lnTo>
                  <a:cubicBezTo>
                    <a:pt x="239130" y="619393"/>
                    <a:pt x="198827" y="686138"/>
                    <a:pt x="198827" y="752883"/>
                  </a:cubicBezTo>
                  <a:cubicBezTo>
                    <a:pt x="198827" y="779581"/>
                    <a:pt x="204201" y="806279"/>
                    <a:pt x="217635" y="830307"/>
                  </a:cubicBezTo>
                  <a:lnTo>
                    <a:pt x="239130" y="873024"/>
                  </a:lnTo>
                  <a:lnTo>
                    <a:pt x="196140" y="891713"/>
                  </a:lnTo>
                  <a:cubicBezTo>
                    <a:pt x="137029" y="918411"/>
                    <a:pt x="91353" y="985156"/>
                    <a:pt x="91353" y="1065250"/>
                  </a:cubicBezTo>
                  <a:cubicBezTo>
                    <a:pt x="91353" y="1129325"/>
                    <a:pt x="118222" y="1182721"/>
                    <a:pt x="161211" y="1217428"/>
                  </a:cubicBezTo>
                  <a:lnTo>
                    <a:pt x="198827" y="1246796"/>
                  </a:lnTo>
                  <a:lnTo>
                    <a:pt x="163898" y="1281503"/>
                  </a:lnTo>
                  <a:cubicBezTo>
                    <a:pt x="142403" y="1305532"/>
                    <a:pt x="131656" y="1332230"/>
                    <a:pt x="131656" y="1358928"/>
                  </a:cubicBezTo>
                  <a:cubicBezTo>
                    <a:pt x="134343" y="1396305"/>
                    <a:pt x="153151" y="1433682"/>
                    <a:pt x="190766" y="1452371"/>
                  </a:cubicBezTo>
                  <a:lnTo>
                    <a:pt x="231069" y="1473729"/>
                  </a:lnTo>
                  <a:lnTo>
                    <a:pt x="212261" y="1511106"/>
                  </a:lnTo>
                  <a:cubicBezTo>
                    <a:pt x="201514" y="1532464"/>
                    <a:pt x="198827" y="1551153"/>
                    <a:pt x="198827" y="1572511"/>
                  </a:cubicBezTo>
                  <a:cubicBezTo>
                    <a:pt x="198827" y="1601879"/>
                    <a:pt x="206888" y="1633917"/>
                    <a:pt x="225695" y="1655275"/>
                  </a:cubicBezTo>
                  <a:cubicBezTo>
                    <a:pt x="241817" y="1679303"/>
                    <a:pt x="265998" y="1695322"/>
                    <a:pt x="295553" y="1700662"/>
                  </a:cubicBezTo>
                  <a:lnTo>
                    <a:pt x="360038" y="1711341"/>
                  </a:lnTo>
                  <a:lnTo>
                    <a:pt x="322422" y="1767407"/>
                  </a:lnTo>
                  <a:cubicBezTo>
                    <a:pt x="311675" y="1786095"/>
                    <a:pt x="306301" y="1807454"/>
                    <a:pt x="306301" y="1828812"/>
                  </a:cubicBezTo>
                  <a:cubicBezTo>
                    <a:pt x="306301" y="1858180"/>
                    <a:pt x="317048" y="1884878"/>
                    <a:pt x="335856" y="1906236"/>
                  </a:cubicBezTo>
                  <a:cubicBezTo>
                    <a:pt x="343917" y="1915581"/>
                    <a:pt x="353992" y="1923590"/>
                    <a:pt x="365747" y="1929263"/>
                  </a:cubicBezTo>
                  <a:lnTo>
                    <a:pt x="404892" y="1938088"/>
                  </a:lnTo>
                  <a:lnTo>
                    <a:pt x="403027" y="1938274"/>
                  </a:lnTo>
                  <a:lnTo>
                    <a:pt x="405704" y="1980833"/>
                  </a:lnTo>
                  <a:lnTo>
                    <a:pt x="362725" y="1978321"/>
                  </a:lnTo>
                  <a:cubicBezTo>
                    <a:pt x="362725" y="1983660"/>
                    <a:pt x="362725" y="1989000"/>
                    <a:pt x="362725" y="1994340"/>
                  </a:cubicBezTo>
                  <a:lnTo>
                    <a:pt x="368430" y="2022401"/>
                  </a:lnTo>
                  <a:lnTo>
                    <a:pt x="365034" y="2022039"/>
                  </a:lnTo>
                  <a:cubicBezTo>
                    <a:pt x="326116" y="2013529"/>
                    <a:pt x="292867" y="1993005"/>
                    <a:pt x="268685" y="1964972"/>
                  </a:cubicBezTo>
                  <a:cubicBezTo>
                    <a:pt x="233756" y="1927595"/>
                    <a:pt x="214948" y="1879538"/>
                    <a:pt x="214948" y="1828812"/>
                  </a:cubicBezTo>
                  <a:cubicBezTo>
                    <a:pt x="214948" y="1810124"/>
                    <a:pt x="217635" y="1791435"/>
                    <a:pt x="223009" y="1773080"/>
                  </a:cubicBezTo>
                  <a:lnTo>
                    <a:pt x="225897" y="1766662"/>
                  </a:lnTo>
                  <a:lnTo>
                    <a:pt x="276746" y="1786095"/>
                  </a:lnTo>
                  <a:lnTo>
                    <a:pt x="284806" y="1743379"/>
                  </a:lnTo>
                  <a:lnTo>
                    <a:pt x="247190" y="1719350"/>
                  </a:lnTo>
                  <a:lnTo>
                    <a:pt x="225897" y="1766662"/>
                  </a:lnTo>
                  <a:lnTo>
                    <a:pt x="206887" y="1759398"/>
                  </a:lnTo>
                  <a:cubicBezTo>
                    <a:pt x="186064" y="1746049"/>
                    <a:pt x="167928" y="1728695"/>
                    <a:pt x="153151" y="1708671"/>
                  </a:cubicBezTo>
                  <a:cubicBezTo>
                    <a:pt x="123595" y="1671294"/>
                    <a:pt x="107474" y="1623238"/>
                    <a:pt x="107474" y="1572511"/>
                  </a:cubicBezTo>
                  <a:cubicBezTo>
                    <a:pt x="107474" y="1556492"/>
                    <a:pt x="109489" y="1539806"/>
                    <a:pt x="113520" y="1523120"/>
                  </a:cubicBezTo>
                  <a:lnTo>
                    <a:pt x="118568" y="1509370"/>
                  </a:lnTo>
                  <a:lnTo>
                    <a:pt x="150464" y="1532464"/>
                  </a:lnTo>
                  <a:lnTo>
                    <a:pt x="171958" y="1492417"/>
                  </a:lnTo>
                  <a:lnTo>
                    <a:pt x="131656" y="1473729"/>
                  </a:lnTo>
                  <a:lnTo>
                    <a:pt x="118568" y="1509370"/>
                  </a:lnTo>
                  <a:lnTo>
                    <a:pt x="104200" y="1498967"/>
                  </a:lnTo>
                  <a:cubicBezTo>
                    <a:pt x="64149" y="1460547"/>
                    <a:pt x="42990" y="1408986"/>
                    <a:pt x="42990" y="1358928"/>
                  </a:cubicBezTo>
                  <a:cubicBezTo>
                    <a:pt x="42990" y="1333565"/>
                    <a:pt x="47692" y="1308201"/>
                    <a:pt x="57096" y="1284507"/>
                  </a:cubicBezTo>
                  <a:lnTo>
                    <a:pt x="74728" y="1257670"/>
                  </a:lnTo>
                  <a:lnTo>
                    <a:pt x="102100" y="1286843"/>
                  </a:lnTo>
                  <a:lnTo>
                    <a:pt x="131656" y="1252136"/>
                  </a:lnTo>
                  <a:lnTo>
                    <a:pt x="99414" y="1220098"/>
                  </a:lnTo>
                  <a:lnTo>
                    <a:pt x="74728" y="1257670"/>
                  </a:lnTo>
                  <a:lnTo>
                    <a:pt x="60454" y="1242458"/>
                  </a:lnTo>
                  <a:cubicBezTo>
                    <a:pt x="23678" y="1193901"/>
                    <a:pt x="2016" y="1133330"/>
                    <a:pt x="0" y="1065250"/>
                  </a:cubicBezTo>
                  <a:cubicBezTo>
                    <a:pt x="2016" y="981151"/>
                    <a:pt x="37280" y="904561"/>
                    <a:pt x="94460" y="853501"/>
                  </a:cubicBezTo>
                  <a:lnTo>
                    <a:pt x="123124" y="834762"/>
                  </a:lnTo>
                  <a:lnTo>
                    <a:pt x="137029" y="873024"/>
                  </a:lnTo>
                  <a:lnTo>
                    <a:pt x="177332" y="851666"/>
                  </a:lnTo>
                  <a:lnTo>
                    <a:pt x="158524" y="811619"/>
                  </a:lnTo>
                  <a:lnTo>
                    <a:pt x="123124" y="834762"/>
                  </a:lnTo>
                  <a:lnTo>
                    <a:pt x="115199" y="812954"/>
                  </a:lnTo>
                  <a:cubicBezTo>
                    <a:pt x="110161" y="792930"/>
                    <a:pt x="107474" y="772907"/>
                    <a:pt x="107474" y="752883"/>
                  </a:cubicBezTo>
                  <a:cubicBezTo>
                    <a:pt x="107474" y="674792"/>
                    <a:pt x="143747" y="599704"/>
                    <a:pt x="207223" y="550146"/>
                  </a:cubicBezTo>
                  <a:lnTo>
                    <a:pt x="243238" y="530089"/>
                  </a:lnTo>
                  <a:lnTo>
                    <a:pt x="252564" y="565997"/>
                  </a:lnTo>
                  <a:lnTo>
                    <a:pt x="295553" y="552648"/>
                  </a:lnTo>
                  <a:lnTo>
                    <a:pt x="279432" y="509932"/>
                  </a:lnTo>
                  <a:lnTo>
                    <a:pt x="243238" y="530089"/>
                  </a:lnTo>
                  <a:lnTo>
                    <a:pt x="241817" y="524616"/>
                  </a:lnTo>
                  <a:cubicBezTo>
                    <a:pt x="239802" y="510599"/>
                    <a:pt x="239130" y="496583"/>
                    <a:pt x="239130" y="483234"/>
                  </a:cubicBezTo>
                  <a:cubicBezTo>
                    <a:pt x="239130" y="409147"/>
                    <a:pt x="270868" y="339565"/>
                    <a:pt x="324143" y="292510"/>
                  </a:cubicBezTo>
                  <a:lnTo>
                    <a:pt x="358347" y="270374"/>
                  </a:lnTo>
                  <a:lnTo>
                    <a:pt x="357351" y="280329"/>
                  </a:lnTo>
                  <a:cubicBezTo>
                    <a:pt x="357351" y="285669"/>
                    <a:pt x="357351" y="291008"/>
                    <a:pt x="357351" y="299018"/>
                  </a:cubicBezTo>
                  <a:lnTo>
                    <a:pt x="403027" y="293678"/>
                  </a:lnTo>
                  <a:lnTo>
                    <a:pt x="384219" y="253631"/>
                  </a:lnTo>
                  <a:lnTo>
                    <a:pt x="358347" y="270374"/>
                  </a:lnTo>
                  <a:lnTo>
                    <a:pt x="362221" y="231678"/>
                  </a:lnTo>
                  <a:cubicBezTo>
                    <a:pt x="384555" y="121810"/>
                    <a:pt x="480946" y="40047"/>
                    <a:pt x="593794" y="40047"/>
                  </a:cubicBezTo>
                  <a:lnTo>
                    <a:pt x="633696" y="45219"/>
                  </a:lnTo>
                  <a:lnTo>
                    <a:pt x="609915" y="61405"/>
                  </a:lnTo>
                  <a:lnTo>
                    <a:pt x="642157" y="90773"/>
                  </a:lnTo>
                  <a:lnTo>
                    <a:pt x="655591" y="48056"/>
                  </a:lnTo>
                  <a:lnTo>
                    <a:pt x="633696" y="45219"/>
                  </a:lnTo>
                  <a:lnTo>
                    <a:pt x="677086" y="15685"/>
                  </a:lnTo>
                  <a:cubicBezTo>
                    <a:pt x="701267" y="5340"/>
                    <a:pt x="726793" y="0"/>
                    <a:pt x="75231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23" name="Freeform 119">
              <a:extLst>
                <a:ext uri="{FF2B5EF4-FFF2-40B4-BE49-F238E27FC236}">
                  <a16:creationId xmlns:a16="http://schemas.microsoft.com/office/drawing/2014/main" id="{07438518-EDE2-F2DD-8115-C41EE8FBBE0A}"/>
                </a:ext>
              </a:extLst>
            </p:cNvPr>
            <p:cNvSpPr>
              <a:spLocks/>
            </p:cNvSpPr>
            <p:nvPr/>
          </p:nvSpPr>
          <p:spPr bwMode="auto">
            <a:xfrm>
              <a:off x="6475579" y="3733387"/>
              <a:ext cx="497857" cy="331905"/>
            </a:xfrm>
            <a:custGeom>
              <a:avLst/>
              <a:gdLst>
                <a:gd name="T0" fmla="*/ 28 w 191"/>
                <a:gd name="T1" fmla="*/ 67 h 122"/>
                <a:gd name="T2" fmla="*/ 57 w 191"/>
                <a:gd name="T3" fmla="*/ 42 h 122"/>
                <a:gd name="T4" fmla="*/ 95 w 191"/>
                <a:gd name="T5" fmla="*/ 33 h 122"/>
                <a:gd name="T6" fmla="*/ 139 w 191"/>
                <a:gd name="T7" fmla="*/ 48 h 122"/>
                <a:gd name="T8" fmla="*/ 157 w 191"/>
                <a:gd name="T9" fmla="*/ 86 h 122"/>
                <a:gd name="T10" fmla="*/ 153 w 191"/>
                <a:gd name="T11" fmla="*/ 111 h 122"/>
                <a:gd name="T12" fmla="*/ 184 w 191"/>
                <a:gd name="T13" fmla="*/ 122 h 122"/>
                <a:gd name="T14" fmla="*/ 191 w 191"/>
                <a:gd name="T15" fmla="*/ 86 h 122"/>
                <a:gd name="T16" fmla="*/ 161 w 191"/>
                <a:gd name="T17" fmla="*/ 23 h 122"/>
                <a:gd name="T18" fmla="*/ 95 w 191"/>
                <a:gd name="T19" fmla="*/ 0 h 122"/>
                <a:gd name="T20" fmla="*/ 42 w 191"/>
                <a:gd name="T21" fmla="*/ 13 h 122"/>
                <a:gd name="T22" fmla="*/ 0 w 191"/>
                <a:gd name="T23" fmla="*/ 48 h 122"/>
                <a:gd name="T24" fmla="*/ 28 w 191"/>
                <a:gd name="T25" fmla="*/ 67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1" h="122">
                  <a:moveTo>
                    <a:pt x="28" y="67"/>
                  </a:moveTo>
                  <a:cubicBezTo>
                    <a:pt x="35" y="57"/>
                    <a:pt x="46" y="48"/>
                    <a:pt x="57" y="42"/>
                  </a:cubicBezTo>
                  <a:cubicBezTo>
                    <a:pt x="69" y="36"/>
                    <a:pt x="82" y="33"/>
                    <a:pt x="95" y="33"/>
                  </a:cubicBezTo>
                  <a:cubicBezTo>
                    <a:pt x="112" y="33"/>
                    <a:pt x="128" y="39"/>
                    <a:pt x="139" y="48"/>
                  </a:cubicBezTo>
                  <a:cubicBezTo>
                    <a:pt x="150" y="58"/>
                    <a:pt x="157" y="70"/>
                    <a:pt x="157" y="86"/>
                  </a:cubicBezTo>
                  <a:cubicBezTo>
                    <a:pt x="157" y="94"/>
                    <a:pt x="156" y="102"/>
                    <a:pt x="153" y="111"/>
                  </a:cubicBezTo>
                  <a:lnTo>
                    <a:pt x="184" y="122"/>
                  </a:lnTo>
                  <a:cubicBezTo>
                    <a:pt x="188" y="110"/>
                    <a:pt x="191" y="98"/>
                    <a:pt x="191" y="86"/>
                  </a:cubicBezTo>
                  <a:cubicBezTo>
                    <a:pt x="191" y="60"/>
                    <a:pt x="179" y="38"/>
                    <a:pt x="161" y="23"/>
                  </a:cubicBezTo>
                  <a:cubicBezTo>
                    <a:pt x="143" y="8"/>
                    <a:pt x="119" y="0"/>
                    <a:pt x="95" y="0"/>
                  </a:cubicBezTo>
                  <a:cubicBezTo>
                    <a:pt x="77" y="0"/>
                    <a:pt x="59" y="4"/>
                    <a:pt x="42" y="13"/>
                  </a:cubicBezTo>
                  <a:cubicBezTo>
                    <a:pt x="26" y="21"/>
                    <a:pt x="11" y="33"/>
                    <a:pt x="0" y="48"/>
                  </a:cubicBezTo>
                  <a:lnTo>
                    <a:pt x="28" y="67"/>
                  </a:lnTo>
                </a:path>
              </a:pathLst>
            </a:cu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24" name="Freeform 120">
              <a:extLst>
                <a:ext uri="{FF2B5EF4-FFF2-40B4-BE49-F238E27FC236}">
                  <a16:creationId xmlns:a16="http://schemas.microsoft.com/office/drawing/2014/main" id="{5B91F880-7F2E-54CD-4170-11153524DA44}"/>
                </a:ext>
              </a:extLst>
            </p:cNvPr>
            <p:cNvSpPr>
              <a:spLocks/>
            </p:cNvSpPr>
            <p:nvPr/>
          </p:nvSpPr>
          <p:spPr bwMode="auto">
            <a:xfrm>
              <a:off x="6911210" y="2675434"/>
              <a:ext cx="269679" cy="352655"/>
            </a:xfrm>
            <a:custGeom>
              <a:avLst/>
              <a:gdLst>
                <a:gd name="T0" fmla="*/ 33 w 102"/>
                <a:gd name="T1" fmla="*/ 0 h 128"/>
                <a:gd name="T2" fmla="*/ 8 w 102"/>
                <a:gd name="T3" fmla="*/ 28 h 128"/>
                <a:gd name="T4" fmla="*/ 0 w 102"/>
                <a:gd name="T5" fmla="*/ 64 h 128"/>
                <a:gd name="T6" fmla="*/ 2 w 102"/>
                <a:gd name="T7" fmla="*/ 79 h 128"/>
                <a:gd name="T8" fmla="*/ 2 w 102"/>
                <a:gd name="T9" fmla="*/ 79 h 128"/>
                <a:gd name="T10" fmla="*/ 27 w 102"/>
                <a:gd name="T11" fmla="*/ 117 h 128"/>
                <a:gd name="T12" fmla="*/ 69 w 102"/>
                <a:gd name="T13" fmla="*/ 128 h 128"/>
                <a:gd name="T14" fmla="*/ 102 w 102"/>
                <a:gd name="T15" fmla="*/ 121 h 128"/>
                <a:gd name="T16" fmla="*/ 88 w 102"/>
                <a:gd name="T17" fmla="*/ 91 h 128"/>
                <a:gd name="T18" fmla="*/ 69 w 102"/>
                <a:gd name="T19" fmla="*/ 95 h 128"/>
                <a:gd name="T20" fmla="*/ 46 w 102"/>
                <a:gd name="T21" fmla="*/ 89 h 128"/>
                <a:gd name="T22" fmla="*/ 34 w 102"/>
                <a:gd name="T23" fmla="*/ 73 h 128"/>
                <a:gd name="T24" fmla="*/ 34 w 102"/>
                <a:gd name="T25" fmla="*/ 73 h 128"/>
                <a:gd name="T26" fmla="*/ 34 w 102"/>
                <a:gd name="T27" fmla="*/ 64 h 128"/>
                <a:gd name="T28" fmla="*/ 38 w 102"/>
                <a:gd name="T29" fmla="*/ 42 h 128"/>
                <a:gd name="T30" fmla="*/ 50 w 102"/>
                <a:gd name="T31" fmla="*/ 29 h 128"/>
                <a:gd name="T32" fmla="*/ 33 w 102"/>
                <a:gd name="T33" fmla="*/ 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2" h="128">
                  <a:moveTo>
                    <a:pt x="33" y="0"/>
                  </a:moveTo>
                  <a:cubicBezTo>
                    <a:pt x="21" y="6"/>
                    <a:pt x="13" y="17"/>
                    <a:pt x="8" y="28"/>
                  </a:cubicBezTo>
                  <a:cubicBezTo>
                    <a:pt x="3" y="39"/>
                    <a:pt x="0" y="52"/>
                    <a:pt x="0" y="64"/>
                  </a:cubicBezTo>
                  <a:cubicBezTo>
                    <a:pt x="0" y="69"/>
                    <a:pt x="1" y="74"/>
                    <a:pt x="2" y="79"/>
                  </a:cubicBezTo>
                  <a:lnTo>
                    <a:pt x="2" y="79"/>
                  </a:lnTo>
                  <a:cubicBezTo>
                    <a:pt x="5" y="96"/>
                    <a:pt x="15" y="109"/>
                    <a:pt x="27" y="117"/>
                  </a:cubicBezTo>
                  <a:cubicBezTo>
                    <a:pt x="40" y="125"/>
                    <a:pt x="54" y="128"/>
                    <a:pt x="69" y="128"/>
                  </a:cubicBezTo>
                  <a:cubicBezTo>
                    <a:pt x="80" y="128"/>
                    <a:pt x="92" y="126"/>
                    <a:pt x="102" y="121"/>
                  </a:cubicBezTo>
                  <a:lnTo>
                    <a:pt x="88" y="91"/>
                  </a:lnTo>
                  <a:cubicBezTo>
                    <a:pt x="83" y="94"/>
                    <a:pt x="76" y="95"/>
                    <a:pt x="69" y="95"/>
                  </a:cubicBezTo>
                  <a:cubicBezTo>
                    <a:pt x="60" y="95"/>
                    <a:pt x="52" y="93"/>
                    <a:pt x="46" y="89"/>
                  </a:cubicBezTo>
                  <a:cubicBezTo>
                    <a:pt x="40" y="85"/>
                    <a:pt x="36" y="80"/>
                    <a:pt x="34" y="73"/>
                  </a:cubicBezTo>
                  <a:lnTo>
                    <a:pt x="34" y="73"/>
                  </a:lnTo>
                  <a:cubicBezTo>
                    <a:pt x="34" y="70"/>
                    <a:pt x="34" y="67"/>
                    <a:pt x="34" y="64"/>
                  </a:cubicBezTo>
                  <a:cubicBezTo>
                    <a:pt x="34" y="57"/>
                    <a:pt x="35" y="49"/>
                    <a:pt x="38" y="42"/>
                  </a:cubicBezTo>
                  <a:cubicBezTo>
                    <a:pt x="41" y="36"/>
                    <a:pt x="45" y="31"/>
                    <a:pt x="50" y="29"/>
                  </a:cubicBezTo>
                  <a:lnTo>
                    <a:pt x="33" y="0"/>
                  </a:lnTo>
                </a:path>
              </a:pathLst>
            </a:cu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25" name="Freeform 121">
              <a:extLst>
                <a:ext uri="{FF2B5EF4-FFF2-40B4-BE49-F238E27FC236}">
                  <a16:creationId xmlns:a16="http://schemas.microsoft.com/office/drawing/2014/main" id="{2DA3F39E-71F0-56DD-0AED-91026CC384F8}"/>
                </a:ext>
              </a:extLst>
            </p:cNvPr>
            <p:cNvSpPr>
              <a:spLocks/>
            </p:cNvSpPr>
            <p:nvPr/>
          </p:nvSpPr>
          <p:spPr bwMode="auto">
            <a:xfrm>
              <a:off x="6620794" y="3173291"/>
              <a:ext cx="165952" cy="103727"/>
            </a:xfrm>
            <a:custGeom>
              <a:avLst/>
              <a:gdLst>
                <a:gd name="T0" fmla="*/ 0 w 61"/>
                <a:gd name="T1" fmla="*/ 12 h 44"/>
                <a:gd name="T2" fmla="*/ 10 w 61"/>
                <a:gd name="T3" fmla="*/ 28 h 44"/>
                <a:gd name="T4" fmla="*/ 24 w 61"/>
                <a:gd name="T5" fmla="*/ 38 h 44"/>
                <a:gd name="T6" fmla="*/ 45 w 61"/>
                <a:gd name="T7" fmla="*/ 44 h 44"/>
                <a:gd name="T8" fmla="*/ 61 w 61"/>
                <a:gd name="T9" fmla="*/ 41 h 44"/>
                <a:gd name="T10" fmla="*/ 52 w 61"/>
                <a:gd name="T11" fmla="*/ 9 h 44"/>
                <a:gd name="T12" fmla="*/ 45 w 61"/>
                <a:gd name="T13" fmla="*/ 10 h 44"/>
                <a:gd name="T14" fmla="*/ 39 w 61"/>
                <a:gd name="T15" fmla="*/ 9 h 44"/>
                <a:gd name="T16" fmla="*/ 33 w 61"/>
                <a:gd name="T17" fmla="*/ 3 h 44"/>
                <a:gd name="T18" fmla="*/ 32 w 61"/>
                <a:gd name="T19" fmla="*/ 1 h 44"/>
                <a:gd name="T20" fmla="*/ 32 w 61"/>
                <a:gd name="T21" fmla="*/ 0 h 44"/>
                <a:gd name="T22" fmla="*/ 32 w 61"/>
                <a:gd name="T23" fmla="*/ 0 h 44"/>
                <a:gd name="T24" fmla="*/ 22 w 61"/>
                <a:gd name="T25" fmla="*/ 4 h 44"/>
                <a:gd name="T26" fmla="*/ 32 w 61"/>
                <a:gd name="T27" fmla="*/ 0 h 44"/>
                <a:gd name="T28" fmla="*/ 32 w 61"/>
                <a:gd name="T29" fmla="*/ 0 h 44"/>
                <a:gd name="T30" fmla="*/ 22 w 61"/>
                <a:gd name="T31" fmla="*/ 4 h 44"/>
                <a:gd name="T32" fmla="*/ 32 w 61"/>
                <a:gd name="T33" fmla="*/ 0 h 44"/>
                <a:gd name="T34" fmla="*/ 0 w 61"/>
                <a:gd name="T35" fmla="*/ 12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1" h="44">
                  <a:moveTo>
                    <a:pt x="0" y="12"/>
                  </a:moveTo>
                  <a:cubicBezTo>
                    <a:pt x="1" y="13"/>
                    <a:pt x="3" y="20"/>
                    <a:pt x="10" y="28"/>
                  </a:cubicBezTo>
                  <a:cubicBezTo>
                    <a:pt x="13" y="31"/>
                    <a:pt x="18" y="35"/>
                    <a:pt x="24" y="38"/>
                  </a:cubicBezTo>
                  <a:cubicBezTo>
                    <a:pt x="29" y="42"/>
                    <a:pt x="37" y="44"/>
                    <a:pt x="45" y="44"/>
                  </a:cubicBezTo>
                  <a:cubicBezTo>
                    <a:pt x="50" y="44"/>
                    <a:pt x="56" y="43"/>
                    <a:pt x="61" y="41"/>
                  </a:cubicBezTo>
                  <a:lnTo>
                    <a:pt x="52" y="9"/>
                  </a:lnTo>
                  <a:cubicBezTo>
                    <a:pt x="49" y="10"/>
                    <a:pt x="47" y="10"/>
                    <a:pt x="45" y="10"/>
                  </a:cubicBezTo>
                  <a:cubicBezTo>
                    <a:pt x="42" y="10"/>
                    <a:pt x="41" y="10"/>
                    <a:pt x="39" y="9"/>
                  </a:cubicBezTo>
                  <a:cubicBezTo>
                    <a:pt x="37" y="8"/>
                    <a:pt x="35" y="6"/>
                    <a:pt x="33" y="3"/>
                  </a:cubicBezTo>
                  <a:lnTo>
                    <a:pt x="32" y="1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22" y="4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22" y="4"/>
                  </a:lnTo>
                  <a:lnTo>
                    <a:pt x="32" y="0"/>
                  </a:lnTo>
                  <a:lnTo>
                    <a:pt x="0" y="12"/>
                  </a:lnTo>
                </a:path>
              </a:pathLst>
            </a:cu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26" name="Freeform 122">
              <a:extLst>
                <a:ext uri="{FF2B5EF4-FFF2-40B4-BE49-F238E27FC236}">
                  <a16:creationId xmlns:a16="http://schemas.microsoft.com/office/drawing/2014/main" id="{B981FCAF-8E1D-0DB8-819A-851DA867C7A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7818" y="3442970"/>
              <a:ext cx="165952" cy="124464"/>
            </a:xfrm>
            <a:custGeom>
              <a:avLst/>
              <a:gdLst>
                <a:gd name="T0" fmla="*/ 4 w 58"/>
                <a:gd name="T1" fmla="*/ 34 h 48"/>
                <a:gd name="T2" fmla="*/ 3 w 58"/>
                <a:gd name="T3" fmla="*/ 25 h 48"/>
                <a:gd name="T4" fmla="*/ 3 w 58"/>
                <a:gd name="T5" fmla="*/ 34 h 48"/>
                <a:gd name="T6" fmla="*/ 4 w 58"/>
                <a:gd name="T7" fmla="*/ 34 h 48"/>
                <a:gd name="T8" fmla="*/ 3 w 58"/>
                <a:gd name="T9" fmla="*/ 25 h 48"/>
                <a:gd name="T10" fmla="*/ 3 w 58"/>
                <a:gd name="T11" fmla="*/ 34 h 48"/>
                <a:gd name="T12" fmla="*/ 3 w 58"/>
                <a:gd name="T13" fmla="*/ 34 h 48"/>
                <a:gd name="T14" fmla="*/ 15 w 58"/>
                <a:gd name="T15" fmla="*/ 36 h 48"/>
                <a:gd name="T16" fmla="*/ 34 w 58"/>
                <a:gd name="T17" fmla="*/ 48 h 48"/>
                <a:gd name="T18" fmla="*/ 58 w 58"/>
                <a:gd name="T19" fmla="*/ 25 h 48"/>
                <a:gd name="T20" fmla="*/ 26 w 58"/>
                <a:gd name="T21" fmla="*/ 4 h 48"/>
                <a:gd name="T22" fmla="*/ 3 w 58"/>
                <a:gd name="T23" fmla="*/ 0 h 48"/>
                <a:gd name="T24" fmla="*/ 0 w 58"/>
                <a:gd name="T25" fmla="*/ 0 h 48"/>
                <a:gd name="T26" fmla="*/ 4 w 58"/>
                <a:gd name="T27" fmla="*/ 3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8" h="48">
                  <a:moveTo>
                    <a:pt x="4" y="34"/>
                  </a:moveTo>
                  <a:lnTo>
                    <a:pt x="3" y="25"/>
                  </a:lnTo>
                  <a:lnTo>
                    <a:pt x="3" y="34"/>
                  </a:lnTo>
                  <a:lnTo>
                    <a:pt x="4" y="34"/>
                  </a:lnTo>
                  <a:lnTo>
                    <a:pt x="3" y="25"/>
                  </a:lnTo>
                  <a:lnTo>
                    <a:pt x="3" y="34"/>
                  </a:lnTo>
                  <a:lnTo>
                    <a:pt x="3" y="34"/>
                  </a:lnTo>
                  <a:cubicBezTo>
                    <a:pt x="5" y="34"/>
                    <a:pt x="10" y="34"/>
                    <a:pt x="15" y="36"/>
                  </a:cubicBezTo>
                  <a:cubicBezTo>
                    <a:pt x="21" y="37"/>
                    <a:pt x="28" y="41"/>
                    <a:pt x="34" y="48"/>
                  </a:cubicBezTo>
                  <a:lnTo>
                    <a:pt x="58" y="25"/>
                  </a:lnTo>
                  <a:cubicBezTo>
                    <a:pt x="48" y="14"/>
                    <a:pt x="36" y="7"/>
                    <a:pt x="26" y="4"/>
                  </a:cubicBezTo>
                  <a:cubicBezTo>
                    <a:pt x="16" y="1"/>
                    <a:pt x="7" y="0"/>
                    <a:pt x="3" y="0"/>
                  </a:cubicBezTo>
                  <a:lnTo>
                    <a:pt x="0" y="0"/>
                  </a:lnTo>
                  <a:lnTo>
                    <a:pt x="4" y="34"/>
                  </a:lnTo>
                </a:path>
              </a:pathLst>
            </a:cu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27" name="Freeform 124">
              <a:extLst>
                <a:ext uri="{FF2B5EF4-FFF2-40B4-BE49-F238E27FC236}">
                  <a16:creationId xmlns:a16="http://schemas.microsoft.com/office/drawing/2014/main" id="{E7897467-22E1-09FD-2A83-7A44307A51DF}"/>
                </a:ext>
              </a:extLst>
            </p:cNvPr>
            <p:cNvSpPr>
              <a:spLocks/>
            </p:cNvSpPr>
            <p:nvPr/>
          </p:nvSpPr>
          <p:spPr bwMode="auto">
            <a:xfrm>
              <a:off x="7077163" y="3194042"/>
              <a:ext cx="1327618" cy="1348369"/>
            </a:xfrm>
            <a:custGeom>
              <a:avLst/>
              <a:gdLst>
                <a:gd name="T0" fmla="*/ 62 w 64"/>
                <a:gd name="T1" fmla="*/ 62 h 65"/>
                <a:gd name="T2" fmla="*/ 62 w 64"/>
                <a:gd name="T3" fmla="*/ 60 h 65"/>
                <a:gd name="T4" fmla="*/ 4 w 64"/>
                <a:gd name="T5" fmla="*/ 60 h 65"/>
                <a:gd name="T6" fmla="*/ 4 w 64"/>
                <a:gd name="T7" fmla="*/ 5 h 65"/>
                <a:gd name="T8" fmla="*/ 60 w 64"/>
                <a:gd name="T9" fmla="*/ 5 h 65"/>
                <a:gd name="T10" fmla="*/ 60 w 64"/>
                <a:gd name="T11" fmla="*/ 62 h 65"/>
                <a:gd name="T12" fmla="*/ 62 w 64"/>
                <a:gd name="T13" fmla="*/ 62 h 65"/>
                <a:gd name="T14" fmla="*/ 62 w 64"/>
                <a:gd name="T15" fmla="*/ 60 h 65"/>
                <a:gd name="T16" fmla="*/ 62 w 64"/>
                <a:gd name="T17" fmla="*/ 62 h 65"/>
                <a:gd name="T18" fmla="*/ 64 w 64"/>
                <a:gd name="T19" fmla="*/ 62 h 65"/>
                <a:gd name="T20" fmla="*/ 64 w 64"/>
                <a:gd name="T21" fmla="*/ 0 h 65"/>
                <a:gd name="T22" fmla="*/ 0 w 64"/>
                <a:gd name="T23" fmla="*/ 0 h 65"/>
                <a:gd name="T24" fmla="*/ 0 w 64"/>
                <a:gd name="T25" fmla="*/ 65 h 65"/>
                <a:gd name="T26" fmla="*/ 64 w 64"/>
                <a:gd name="T27" fmla="*/ 65 h 65"/>
                <a:gd name="T28" fmla="*/ 64 w 64"/>
                <a:gd name="T29" fmla="*/ 62 h 65"/>
                <a:gd name="T30" fmla="*/ 62 w 64"/>
                <a:gd name="T31" fmla="*/ 62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65">
                  <a:moveTo>
                    <a:pt x="62" y="62"/>
                  </a:moveTo>
                  <a:lnTo>
                    <a:pt x="62" y="60"/>
                  </a:lnTo>
                  <a:lnTo>
                    <a:pt x="4" y="60"/>
                  </a:lnTo>
                  <a:lnTo>
                    <a:pt x="4" y="5"/>
                  </a:lnTo>
                  <a:lnTo>
                    <a:pt x="60" y="5"/>
                  </a:lnTo>
                  <a:lnTo>
                    <a:pt x="60" y="62"/>
                  </a:lnTo>
                  <a:lnTo>
                    <a:pt x="62" y="62"/>
                  </a:lnTo>
                  <a:lnTo>
                    <a:pt x="62" y="60"/>
                  </a:lnTo>
                  <a:lnTo>
                    <a:pt x="62" y="62"/>
                  </a:lnTo>
                  <a:lnTo>
                    <a:pt x="64" y="62"/>
                  </a:lnTo>
                  <a:lnTo>
                    <a:pt x="64" y="0"/>
                  </a:lnTo>
                  <a:lnTo>
                    <a:pt x="0" y="0"/>
                  </a:lnTo>
                  <a:lnTo>
                    <a:pt x="0" y="65"/>
                  </a:lnTo>
                  <a:lnTo>
                    <a:pt x="64" y="65"/>
                  </a:lnTo>
                  <a:lnTo>
                    <a:pt x="64" y="62"/>
                  </a:lnTo>
                  <a:lnTo>
                    <a:pt x="62" y="6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28" name="Freeform 126">
              <a:extLst>
                <a:ext uri="{FF2B5EF4-FFF2-40B4-BE49-F238E27FC236}">
                  <a16:creationId xmlns:a16="http://schemas.microsoft.com/office/drawing/2014/main" id="{8CAE69F2-9CDC-DBC4-9316-B8D1102C6CC3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8317" y="3525946"/>
              <a:ext cx="705297" cy="684560"/>
            </a:xfrm>
            <a:custGeom>
              <a:avLst/>
              <a:gdLst>
                <a:gd name="T0" fmla="*/ 32 w 34"/>
                <a:gd name="T1" fmla="*/ 31 h 33"/>
                <a:gd name="T2" fmla="*/ 32 w 34"/>
                <a:gd name="T3" fmla="*/ 29 h 33"/>
                <a:gd name="T4" fmla="*/ 4 w 34"/>
                <a:gd name="T5" fmla="*/ 29 h 33"/>
                <a:gd name="T6" fmla="*/ 4 w 34"/>
                <a:gd name="T7" fmla="*/ 4 h 33"/>
                <a:gd name="T8" fmla="*/ 30 w 34"/>
                <a:gd name="T9" fmla="*/ 4 h 33"/>
                <a:gd name="T10" fmla="*/ 30 w 34"/>
                <a:gd name="T11" fmla="*/ 31 h 33"/>
                <a:gd name="T12" fmla="*/ 32 w 34"/>
                <a:gd name="T13" fmla="*/ 31 h 33"/>
                <a:gd name="T14" fmla="*/ 32 w 34"/>
                <a:gd name="T15" fmla="*/ 29 h 33"/>
                <a:gd name="T16" fmla="*/ 32 w 34"/>
                <a:gd name="T17" fmla="*/ 31 h 33"/>
                <a:gd name="T18" fmla="*/ 34 w 34"/>
                <a:gd name="T19" fmla="*/ 31 h 33"/>
                <a:gd name="T20" fmla="*/ 34 w 34"/>
                <a:gd name="T21" fmla="*/ 0 h 33"/>
                <a:gd name="T22" fmla="*/ 0 w 34"/>
                <a:gd name="T23" fmla="*/ 0 h 33"/>
                <a:gd name="T24" fmla="*/ 0 w 34"/>
                <a:gd name="T25" fmla="*/ 33 h 33"/>
                <a:gd name="T26" fmla="*/ 34 w 34"/>
                <a:gd name="T27" fmla="*/ 33 h 33"/>
                <a:gd name="T28" fmla="*/ 34 w 34"/>
                <a:gd name="T29" fmla="*/ 31 h 33"/>
                <a:gd name="T30" fmla="*/ 32 w 34"/>
                <a:gd name="T31" fmla="*/ 3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4" h="33">
                  <a:moveTo>
                    <a:pt x="32" y="31"/>
                  </a:moveTo>
                  <a:lnTo>
                    <a:pt x="32" y="29"/>
                  </a:lnTo>
                  <a:lnTo>
                    <a:pt x="4" y="29"/>
                  </a:lnTo>
                  <a:lnTo>
                    <a:pt x="4" y="4"/>
                  </a:lnTo>
                  <a:lnTo>
                    <a:pt x="30" y="4"/>
                  </a:lnTo>
                  <a:lnTo>
                    <a:pt x="30" y="31"/>
                  </a:lnTo>
                  <a:lnTo>
                    <a:pt x="32" y="31"/>
                  </a:lnTo>
                  <a:lnTo>
                    <a:pt x="32" y="29"/>
                  </a:lnTo>
                  <a:lnTo>
                    <a:pt x="32" y="31"/>
                  </a:lnTo>
                  <a:lnTo>
                    <a:pt x="34" y="31"/>
                  </a:lnTo>
                  <a:lnTo>
                    <a:pt x="34" y="0"/>
                  </a:lnTo>
                  <a:lnTo>
                    <a:pt x="0" y="0"/>
                  </a:lnTo>
                  <a:lnTo>
                    <a:pt x="0" y="33"/>
                  </a:lnTo>
                  <a:lnTo>
                    <a:pt x="34" y="33"/>
                  </a:lnTo>
                  <a:lnTo>
                    <a:pt x="34" y="31"/>
                  </a:lnTo>
                  <a:lnTo>
                    <a:pt x="32" y="3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29" name="Rectangle 127">
              <a:extLst>
                <a:ext uri="{FF2B5EF4-FFF2-40B4-BE49-F238E27FC236}">
                  <a16:creationId xmlns:a16="http://schemas.microsoft.com/office/drawing/2014/main" id="{6575038C-32A6-7BB8-0611-98792C3292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88317" y="3422220"/>
              <a:ext cx="82976" cy="145215"/>
            </a:xfrm>
            <a:prstGeom prst="rect">
              <a:avLst/>
            </a:pr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30" name="Rectangle 128">
              <a:extLst>
                <a:ext uri="{FF2B5EF4-FFF2-40B4-BE49-F238E27FC236}">
                  <a16:creationId xmlns:a16="http://schemas.microsoft.com/office/drawing/2014/main" id="{9376DEEF-6764-BE6C-BDE8-D7E766B31C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95757" y="3422220"/>
              <a:ext cx="82976" cy="145215"/>
            </a:xfrm>
            <a:prstGeom prst="rect">
              <a:avLst/>
            </a:pr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31" name="Rectangle 129">
              <a:extLst>
                <a:ext uri="{FF2B5EF4-FFF2-40B4-BE49-F238E27FC236}">
                  <a16:creationId xmlns:a16="http://schemas.microsoft.com/office/drawing/2014/main" id="{96D85798-106A-DE6E-89B2-9A07A7CCC7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03197" y="3422220"/>
              <a:ext cx="82976" cy="145215"/>
            </a:xfrm>
            <a:prstGeom prst="rect">
              <a:avLst/>
            </a:pr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32" name="Rectangle 130">
              <a:extLst>
                <a:ext uri="{FF2B5EF4-FFF2-40B4-BE49-F238E27FC236}">
                  <a16:creationId xmlns:a16="http://schemas.microsoft.com/office/drawing/2014/main" id="{76A8F116-A2A4-7405-9832-ACE4413F00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10638" y="3422220"/>
              <a:ext cx="82976" cy="145215"/>
            </a:xfrm>
            <a:prstGeom prst="rect">
              <a:avLst/>
            </a:pr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33" name="Rectangle 131">
              <a:extLst>
                <a:ext uri="{FF2B5EF4-FFF2-40B4-BE49-F238E27FC236}">
                  <a16:creationId xmlns:a16="http://schemas.microsoft.com/office/drawing/2014/main" id="{31429C0A-F5CF-35C0-3B67-6A4152A452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88317" y="4169005"/>
              <a:ext cx="82976" cy="145215"/>
            </a:xfrm>
            <a:prstGeom prst="rect">
              <a:avLst/>
            </a:pr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34" name="Rectangle 132">
              <a:extLst>
                <a:ext uri="{FF2B5EF4-FFF2-40B4-BE49-F238E27FC236}">
                  <a16:creationId xmlns:a16="http://schemas.microsoft.com/office/drawing/2014/main" id="{947FF34A-42C9-C4A4-18BB-E3E56C782E1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95757" y="4169005"/>
              <a:ext cx="82976" cy="145215"/>
            </a:xfrm>
            <a:prstGeom prst="rect">
              <a:avLst/>
            </a:pr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35" name="Rectangle 133">
              <a:extLst>
                <a:ext uri="{FF2B5EF4-FFF2-40B4-BE49-F238E27FC236}">
                  <a16:creationId xmlns:a16="http://schemas.microsoft.com/office/drawing/2014/main" id="{B332D7C1-A512-51BC-E65A-89F80D0464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03197" y="4169005"/>
              <a:ext cx="82976" cy="145215"/>
            </a:xfrm>
            <a:prstGeom prst="rect">
              <a:avLst/>
            </a:pr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36" name="Rectangle 134">
              <a:extLst>
                <a:ext uri="{FF2B5EF4-FFF2-40B4-BE49-F238E27FC236}">
                  <a16:creationId xmlns:a16="http://schemas.microsoft.com/office/drawing/2014/main" id="{A17799C8-BABF-A3B2-E638-E7450AB5FB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10638" y="4169005"/>
              <a:ext cx="82976" cy="145215"/>
            </a:xfrm>
            <a:prstGeom prst="rect">
              <a:avLst/>
            </a:pr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37" name="Rectangle 135">
              <a:extLst>
                <a:ext uri="{FF2B5EF4-FFF2-40B4-BE49-F238E27FC236}">
                  <a16:creationId xmlns:a16="http://schemas.microsoft.com/office/drawing/2014/main" id="{5F64498F-B747-4BC8-3CB1-C0D2D164C9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52126" y="3525946"/>
              <a:ext cx="145215" cy="82976"/>
            </a:xfrm>
            <a:prstGeom prst="rect">
              <a:avLst/>
            </a:pr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38" name="Rectangle 136">
              <a:extLst>
                <a:ext uri="{FF2B5EF4-FFF2-40B4-BE49-F238E27FC236}">
                  <a16:creationId xmlns:a16="http://schemas.microsoft.com/office/drawing/2014/main" id="{B9950E9A-4EA3-5196-6F48-14A6EC8F62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52126" y="3712636"/>
              <a:ext cx="145215" cy="103727"/>
            </a:xfrm>
            <a:prstGeom prst="rect">
              <a:avLst/>
            </a:pr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39" name="Rectangle 137">
              <a:extLst>
                <a:ext uri="{FF2B5EF4-FFF2-40B4-BE49-F238E27FC236}">
                  <a16:creationId xmlns:a16="http://schemas.microsoft.com/office/drawing/2014/main" id="{76519954-1A14-1C78-9887-86ED73DC7E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52126" y="3920077"/>
              <a:ext cx="145215" cy="103727"/>
            </a:xfrm>
            <a:prstGeom prst="rect">
              <a:avLst/>
            </a:pr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40" name="Rectangle 138">
              <a:extLst>
                <a:ext uri="{FF2B5EF4-FFF2-40B4-BE49-F238E27FC236}">
                  <a16:creationId xmlns:a16="http://schemas.microsoft.com/office/drawing/2014/main" id="{F6DB548F-83F3-09CF-AD08-3FF788A3DBE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52126" y="4127517"/>
              <a:ext cx="145215" cy="82976"/>
            </a:xfrm>
            <a:prstGeom prst="rect">
              <a:avLst/>
            </a:pr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41" name="Rectangle 139">
              <a:extLst>
                <a:ext uri="{FF2B5EF4-FFF2-40B4-BE49-F238E27FC236}">
                  <a16:creationId xmlns:a16="http://schemas.microsoft.com/office/drawing/2014/main" id="{FCCF9EB8-63AC-06E6-3A0C-36B95DBC88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84603" y="3525946"/>
              <a:ext cx="145215" cy="82976"/>
            </a:xfrm>
            <a:prstGeom prst="rect">
              <a:avLst/>
            </a:pr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42" name="Rectangle 140">
              <a:extLst>
                <a:ext uri="{FF2B5EF4-FFF2-40B4-BE49-F238E27FC236}">
                  <a16:creationId xmlns:a16="http://schemas.microsoft.com/office/drawing/2014/main" id="{A07DEED5-BE3F-8B64-B945-B331396132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84603" y="3712636"/>
              <a:ext cx="145215" cy="103727"/>
            </a:xfrm>
            <a:prstGeom prst="rect">
              <a:avLst/>
            </a:pr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43" name="Rectangle 141">
              <a:extLst>
                <a:ext uri="{FF2B5EF4-FFF2-40B4-BE49-F238E27FC236}">
                  <a16:creationId xmlns:a16="http://schemas.microsoft.com/office/drawing/2014/main" id="{D7E015FB-9A94-5060-E91B-3A1866AF97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84603" y="3920077"/>
              <a:ext cx="145215" cy="103727"/>
            </a:xfrm>
            <a:prstGeom prst="rect">
              <a:avLst/>
            </a:pr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44" name="Rectangle 142">
              <a:extLst>
                <a:ext uri="{FF2B5EF4-FFF2-40B4-BE49-F238E27FC236}">
                  <a16:creationId xmlns:a16="http://schemas.microsoft.com/office/drawing/2014/main" id="{50A53633-FB8E-2E70-9232-57221FC9D7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84603" y="4127517"/>
              <a:ext cx="145215" cy="82976"/>
            </a:xfrm>
            <a:prstGeom prst="rect">
              <a:avLst/>
            </a:pr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45" name="Rectangle 143">
              <a:extLst>
                <a:ext uri="{FF2B5EF4-FFF2-40B4-BE49-F238E27FC236}">
                  <a16:creationId xmlns:a16="http://schemas.microsoft.com/office/drawing/2014/main" id="{7D2541D7-B6D3-C3A6-971F-AF59833B12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99484" y="2550970"/>
              <a:ext cx="82976" cy="539345"/>
            </a:xfrm>
            <a:prstGeom prst="rect">
              <a:avLst/>
            </a:pr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46" name="Freeform 144">
              <a:extLst>
                <a:ext uri="{FF2B5EF4-FFF2-40B4-BE49-F238E27FC236}">
                  <a16:creationId xmlns:a16="http://schemas.microsoft.com/office/drawing/2014/main" id="{A8D9BE47-C0E8-C4C8-5DEE-55464ACB4A88}"/>
                </a:ext>
              </a:extLst>
            </p:cNvPr>
            <p:cNvSpPr>
              <a:spLocks/>
            </p:cNvSpPr>
            <p:nvPr/>
          </p:nvSpPr>
          <p:spPr bwMode="auto">
            <a:xfrm>
              <a:off x="9110078" y="3297755"/>
              <a:ext cx="311167" cy="912738"/>
            </a:xfrm>
            <a:custGeom>
              <a:avLst/>
              <a:gdLst>
                <a:gd name="T0" fmla="*/ 0 w 15"/>
                <a:gd name="T1" fmla="*/ 44 h 44"/>
                <a:gd name="T2" fmla="*/ 15 w 15"/>
                <a:gd name="T3" fmla="*/ 44 h 44"/>
                <a:gd name="T4" fmla="*/ 15 w 15"/>
                <a:gd name="T5" fmla="*/ 0 h 44"/>
                <a:gd name="T6" fmla="*/ 11 w 15"/>
                <a:gd name="T7" fmla="*/ 0 h 44"/>
                <a:gd name="T8" fmla="*/ 11 w 15"/>
                <a:gd name="T9" fmla="*/ 40 h 44"/>
                <a:gd name="T10" fmla="*/ 0 w 15"/>
                <a:gd name="T11" fmla="*/ 40 h 44"/>
                <a:gd name="T12" fmla="*/ 0 w 15"/>
                <a:gd name="T13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44">
                  <a:moveTo>
                    <a:pt x="0" y="44"/>
                  </a:moveTo>
                  <a:lnTo>
                    <a:pt x="15" y="44"/>
                  </a:lnTo>
                  <a:lnTo>
                    <a:pt x="15" y="0"/>
                  </a:lnTo>
                  <a:lnTo>
                    <a:pt x="11" y="0"/>
                  </a:lnTo>
                  <a:lnTo>
                    <a:pt x="11" y="40"/>
                  </a:lnTo>
                  <a:lnTo>
                    <a:pt x="0" y="40"/>
                  </a:lnTo>
                  <a:lnTo>
                    <a:pt x="0" y="4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47" name="Freeform 145">
              <a:extLst>
                <a:ext uri="{FF2B5EF4-FFF2-40B4-BE49-F238E27FC236}">
                  <a16:creationId xmlns:a16="http://schemas.microsoft.com/office/drawing/2014/main" id="{2A1DD664-F367-DE34-3001-A303B677C053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1449" y="2779161"/>
              <a:ext cx="228191" cy="829762"/>
            </a:xfrm>
            <a:custGeom>
              <a:avLst/>
              <a:gdLst>
                <a:gd name="T0" fmla="*/ 11 w 11"/>
                <a:gd name="T1" fmla="*/ 36 h 40"/>
                <a:gd name="T2" fmla="*/ 4 w 11"/>
                <a:gd name="T3" fmla="*/ 36 h 40"/>
                <a:gd name="T4" fmla="*/ 4 w 11"/>
                <a:gd name="T5" fmla="*/ 0 h 40"/>
                <a:gd name="T6" fmla="*/ 0 w 11"/>
                <a:gd name="T7" fmla="*/ 0 h 40"/>
                <a:gd name="T8" fmla="*/ 0 w 11"/>
                <a:gd name="T9" fmla="*/ 40 h 40"/>
                <a:gd name="T10" fmla="*/ 11 w 11"/>
                <a:gd name="T11" fmla="*/ 40 h 40"/>
                <a:gd name="T12" fmla="*/ 11 w 11"/>
                <a:gd name="T13" fmla="*/ 3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40">
                  <a:moveTo>
                    <a:pt x="11" y="36"/>
                  </a:moveTo>
                  <a:lnTo>
                    <a:pt x="4" y="36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40"/>
                  </a:lnTo>
                  <a:lnTo>
                    <a:pt x="11" y="40"/>
                  </a:lnTo>
                  <a:lnTo>
                    <a:pt x="11" y="3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48" name="Freeform 146">
              <a:extLst>
                <a:ext uri="{FF2B5EF4-FFF2-40B4-BE49-F238E27FC236}">
                  <a16:creationId xmlns:a16="http://schemas.microsoft.com/office/drawing/2014/main" id="{3DE8C502-E642-B183-A6B0-267EAAE1DDF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6234" y="2447256"/>
              <a:ext cx="373393" cy="373393"/>
            </a:xfrm>
            <a:custGeom>
              <a:avLst/>
              <a:gdLst>
                <a:gd name="T0" fmla="*/ 125 w 141"/>
                <a:gd name="T1" fmla="*/ 70 h 141"/>
                <a:gd name="T2" fmla="*/ 108 w 141"/>
                <a:gd name="T3" fmla="*/ 70 h 141"/>
                <a:gd name="T4" fmla="*/ 71 w 141"/>
                <a:gd name="T5" fmla="*/ 107 h 141"/>
                <a:gd name="T6" fmla="*/ 34 w 141"/>
                <a:gd name="T7" fmla="*/ 70 h 141"/>
                <a:gd name="T8" fmla="*/ 71 w 141"/>
                <a:gd name="T9" fmla="*/ 33 h 141"/>
                <a:gd name="T10" fmla="*/ 108 w 141"/>
                <a:gd name="T11" fmla="*/ 70 h 141"/>
                <a:gd name="T12" fmla="*/ 125 w 141"/>
                <a:gd name="T13" fmla="*/ 70 h 141"/>
                <a:gd name="T14" fmla="*/ 141 w 141"/>
                <a:gd name="T15" fmla="*/ 70 h 141"/>
                <a:gd name="T16" fmla="*/ 71 w 141"/>
                <a:gd name="T17" fmla="*/ 0 h 141"/>
                <a:gd name="T18" fmla="*/ 0 w 141"/>
                <a:gd name="T19" fmla="*/ 70 h 141"/>
                <a:gd name="T20" fmla="*/ 71 w 141"/>
                <a:gd name="T21" fmla="*/ 141 h 141"/>
                <a:gd name="T22" fmla="*/ 141 w 141"/>
                <a:gd name="T23" fmla="*/ 70 h 141"/>
                <a:gd name="T24" fmla="*/ 125 w 141"/>
                <a:gd name="T25" fmla="*/ 7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1" h="141">
                  <a:moveTo>
                    <a:pt x="125" y="70"/>
                  </a:moveTo>
                  <a:lnTo>
                    <a:pt x="108" y="70"/>
                  </a:lnTo>
                  <a:cubicBezTo>
                    <a:pt x="108" y="91"/>
                    <a:pt x="91" y="107"/>
                    <a:pt x="71" y="107"/>
                  </a:cubicBezTo>
                  <a:cubicBezTo>
                    <a:pt x="50" y="107"/>
                    <a:pt x="34" y="91"/>
                    <a:pt x="34" y="70"/>
                  </a:cubicBezTo>
                  <a:cubicBezTo>
                    <a:pt x="34" y="50"/>
                    <a:pt x="50" y="33"/>
                    <a:pt x="71" y="33"/>
                  </a:cubicBezTo>
                  <a:cubicBezTo>
                    <a:pt x="91" y="33"/>
                    <a:pt x="108" y="50"/>
                    <a:pt x="108" y="70"/>
                  </a:cubicBezTo>
                  <a:lnTo>
                    <a:pt x="125" y="70"/>
                  </a:lnTo>
                  <a:lnTo>
                    <a:pt x="141" y="70"/>
                  </a:lnTo>
                  <a:cubicBezTo>
                    <a:pt x="141" y="31"/>
                    <a:pt x="110" y="0"/>
                    <a:pt x="71" y="0"/>
                  </a:cubicBezTo>
                  <a:cubicBezTo>
                    <a:pt x="32" y="0"/>
                    <a:pt x="0" y="31"/>
                    <a:pt x="0" y="70"/>
                  </a:cubicBezTo>
                  <a:cubicBezTo>
                    <a:pt x="0" y="109"/>
                    <a:pt x="32" y="141"/>
                    <a:pt x="71" y="141"/>
                  </a:cubicBezTo>
                  <a:cubicBezTo>
                    <a:pt x="110" y="141"/>
                    <a:pt x="141" y="109"/>
                    <a:pt x="141" y="70"/>
                  </a:cubicBezTo>
                  <a:lnTo>
                    <a:pt x="125" y="7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49" name="Freeform 147">
              <a:extLst>
                <a:ext uri="{FF2B5EF4-FFF2-40B4-BE49-F238E27FC236}">
                  <a16:creationId xmlns:a16="http://schemas.microsoft.com/office/drawing/2014/main" id="{B7F1799D-EF66-8C6C-1AED-06DB181CAFAD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1449" y="3816363"/>
              <a:ext cx="228191" cy="850512"/>
            </a:xfrm>
            <a:custGeom>
              <a:avLst/>
              <a:gdLst>
                <a:gd name="T0" fmla="*/ 11 w 11"/>
                <a:gd name="T1" fmla="*/ 0 h 41"/>
                <a:gd name="T2" fmla="*/ 0 w 11"/>
                <a:gd name="T3" fmla="*/ 0 h 41"/>
                <a:gd name="T4" fmla="*/ 0 w 11"/>
                <a:gd name="T5" fmla="*/ 41 h 41"/>
                <a:gd name="T6" fmla="*/ 4 w 11"/>
                <a:gd name="T7" fmla="*/ 41 h 41"/>
                <a:gd name="T8" fmla="*/ 4 w 11"/>
                <a:gd name="T9" fmla="*/ 5 h 41"/>
                <a:gd name="T10" fmla="*/ 11 w 11"/>
                <a:gd name="T11" fmla="*/ 5 h 41"/>
                <a:gd name="T12" fmla="*/ 11 w 11"/>
                <a:gd name="T13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41">
                  <a:moveTo>
                    <a:pt x="11" y="0"/>
                  </a:moveTo>
                  <a:lnTo>
                    <a:pt x="0" y="0"/>
                  </a:lnTo>
                  <a:lnTo>
                    <a:pt x="0" y="41"/>
                  </a:lnTo>
                  <a:lnTo>
                    <a:pt x="4" y="41"/>
                  </a:lnTo>
                  <a:lnTo>
                    <a:pt x="4" y="5"/>
                  </a:lnTo>
                  <a:lnTo>
                    <a:pt x="11" y="5"/>
                  </a:lnTo>
                  <a:lnTo>
                    <a:pt x="1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50" name="Freeform 148">
              <a:extLst>
                <a:ext uri="{FF2B5EF4-FFF2-40B4-BE49-F238E27FC236}">
                  <a16:creationId xmlns:a16="http://schemas.microsoft.com/office/drawing/2014/main" id="{0F853F98-8FB5-8E42-4356-0C1CCBC95BD5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6234" y="4604637"/>
              <a:ext cx="373393" cy="394143"/>
            </a:xfrm>
            <a:custGeom>
              <a:avLst/>
              <a:gdLst>
                <a:gd name="T0" fmla="*/ 125 w 141"/>
                <a:gd name="T1" fmla="*/ 70 h 141"/>
                <a:gd name="T2" fmla="*/ 141 w 141"/>
                <a:gd name="T3" fmla="*/ 70 h 141"/>
                <a:gd name="T4" fmla="*/ 71 w 141"/>
                <a:gd name="T5" fmla="*/ 0 h 141"/>
                <a:gd name="T6" fmla="*/ 0 w 141"/>
                <a:gd name="T7" fmla="*/ 70 h 141"/>
                <a:gd name="T8" fmla="*/ 71 w 141"/>
                <a:gd name="T9" fmla="*/ 141 h 141"/>
                <a:gd name="T10" fmla="*/ 141 w 141"/>
                <a:gd name="T11" fmla="*/ 70 h 141"/>
                <a:gd name="T12" fmla="*/ 125 w 141"/>
                <a:gd name="T13" fmla="*/ 70 h 141"/>
                <a:gd name="T14" fmla="*/ 108 w 141"/>
                <a:gd name="T15" fmla="*/ 70 h 141"/>
                <a:gd name="T16" fmla="*/ 71 w 141"/>
                <a:gd name="T17" fmla="*/ 108 h 141"/>
                <a:gd name="T18" fmla="*/ 34 w 141"/>
                <a:gd name="T19" fmla="*/ 70 h 141"/>
                <a:gd name="T20" fmla="*/ 71 w 141"/>
                <a:gd name="T21" fmla="*/ 33 h 141"/>
                <a:gd name="T22" fmla="*/ 108 w 141"/>
                <a:gd name="T23" fmla="*/ 70 h 141"/>
                <a:gd name="T24" fmla="*/ 125 w 141"/>
                <a:gd name="T25" fmla="*/ 7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1" h="141">
                  <a:moveTo>
                    <a:pt x="125" y="70"/>
                  </a:moveTo>
                  <a:lnTo>
                    <a:pt x="141" y="70"/>
                  </a:lnTo>
                  <a:cubicBezTo>
                    <a:pt x="141" y="31"/>
                    <a:pt x="110" y="0"/>
                    <a:pt x="71" y="0"/>
                  </a:cubicBezTo>
                  <a:cubicBezTo>
                    <a:pt x="32" y="0"/>
                    <a:pt x="0" y="31"/>
                    <a:pt x="0" y="70"/>
                  </a:cubicBezTo>
                  <a:cubicBezTo>
                    <a:pt x="0" y="110"/>
                    <a:pt x="32" y="141"/>
                    <a:pt x="71" y="141"/>
                  </a:cubicBezTo>
                  <a:cubicBezTo>
                    <a:pt x="110" y="141"/>
                    <a:pt x="141" y="110"/>
                    <a:pt x="141" y="70"/>
                  </a:cubicBezTo>
                  <a:lnTo>
                    <a:pt x="125" y="70"/>
                  </a:lnTo>
                  <a:lnTo>
                    <a:pt x="108" y="70"/>
                  </a:lnTo>
                  <a:cubicBezTo>
                    <a:pt x="108" y="91"/>
                    <a:pt x="91" y="108"/>
                    <a:pt x="71" y="108"/>
                  </a:cubicBezTo>
                  <a:cubicBezTo>
                    <a:pt x="50" y="108"/>
                    <a:pt x="34" y="91"/>
                    <a:pt x="34" y="70"/>
                  </a:cubicBezTo>
                  <a:cubicBezTo>
                    <a:pt x="34" y="50"/>
                    <a:pt x="50" y="33"/>
                    <a:pt x="71" y="33"/>
                  </a:cubicBezTo>
                  <a:cubicBezTo>
                    <a:pt x="91" y="33"/>
                    <a:pt x="108" y="50"/>
                    <a:pt x="108" y="70"/>
                  </a:cubicBezTo>
                  <a:lnTo>
                    <a:pt x="125" y="7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51" name="Freeform 149">
              <a:extLst>
                <a:ext uri="{FF2B5EF4-FFF2-40B4-BE49-F238E27FC236}">
                  <a16:creationId xmlns:a16="http://schemas.microsoft.com/office/drawing/2014/main" id="{135E4473-EA96-A587-192E-10B9A7736F8D}"/>
                </a:ext>
              </a:extLst>
            </p:cNvPr>
            <p:cNvSpPr>
              <a:spLocks/>
            </p:cNvSpPr>
            <p:nvPr/>
          </p:nvSpPr>
          <p:spPr bwMode="auto">
            <a:xfrm>
              <a:off x="9193054" y="2965851"/>
              <a:ext cx="373393" cy="373393"/>
            </a:xfrm>
            <a:custGeom>
              <a:avLst/>
              <a:gdLst>
                <a:gd name="T0" fmla="*/ 124 w 141"/>
                <a:gd name="T1" fmla="*/ 71 h 141"/>
                <a:gd name="T2" fmla="*/ 107 w 141"/>
                <a:gd name="T3" fmla="*/ 71 h 141"/>
                <a:gd name="T4" fmla="*/ 70 w 141"/>
                <a:gd name="T5" fmla="*/ 108 h 141"/>
                <a:gd name="T6" fmla="*/ 33 w 141"/>
                <a:gd name="T7" fmla="*/ 71 h 141"/>
                <a:gd name="T8" fmla="*/ 70 w 141"/>
                <a:gd name="T9" fmla="*/ 33 h 141"/>
                <a:gd name="T10" fmla="*/ 107 w 141"/>
                <a:gd name="T11" fmla="*/ 71 h 141"/>
                <a:gd name="T12" fmla="*/ 124 w 141"/>
                <a:gd name="T13" fmla="*/ 71 h 141"/>
                <a:gd name="T14" fmla="*/ 141 w 141"/>
                <a:gd name="T15" fmla="*/ 71 h 141"/>
                <a:gd name="T16" fmla="*/ 70 w 141"/>
                <a:gd name="T17" fmla="*/ 0 h 141"/>
                <a:gd name="T18" fmla="*/ 0 w 141"/>
                <a:gd name="T19" fmla="*/ 71 h 141"/>
                <a:gd name="T20" fmla="*/ 70 w 141"/>
                <a:gd name="T21" fmla="*/ 141 h 141"/>
                <a:gd name="T22" fmla="*/ 141 w 141"/>
                <a:gd name="T23" fmla="*/ 71 h 141"/>
                <a:gd name="T24" fmla="*/ 124 w 141"/>
                <a:gd name="T25" fmla="*/ 7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1" h="141">
                  <a:moveTo>
                    <a:pt x="124" y="71"/>
                  </a:moveTo>
                  <a:lnTo>
                    <a:pt x="107" y="71"/>
                  </a:lnTo>
                  <a:cubicBezTo>
                    <a:pt x="107" y="91"/>
                    <a:pt x="91" y="108"/>
                    <a:pt x="70" y="108"/>
                  </a:cubicBezTo>
                  <a:cubicBezTo>
                    <a:pt x="50" y="108"/>
                    <a:pt x="33" y="91"/>
                    <a:pt x="33" y="71"/>
                  </a:cubicBezTo>
                  <a:cubicBezTo>
                    <a:pt x="33" y="50"/>
                    <a:pt x="50" y="33"/>
                    <a:pt x="70" y="33"/>
                  </a:cubicBezTo>
                  <a:cubicBezTo>
                    <a:pt x="91" y="33"/>
                    <a:pt x="107" y="50"/>
                    <a:pt x="107" y="71"/>
                  </a:cubicBezTo>
                  <a:lnTo>
                    <a:pt x="124" y="71"/>
                  </a:lnTo>
                  <a:lnTo>
                    <a:pt x="141" y="71"/>
                  </a:lnTo>
                  <a:cubicBezTo>
                    <a:pt x="141" y="32"/>
                    <a:pt x="109" y="0"/>
                    <a:pt x="70" y="0"/>
                  </a:cubicBezTo>
                  <a:cubicBezTo>
                    <a:pt x="31" y="0"/>
                    <a:pt x="0" y="32"/>
                    <a:pt x="0" y="71"/>
                  </a:cubicBezTo>
                  <a:cubicBezTo>
                    <a:pt x="0" y="110"/>
                    <a:pt x="31" y="141"/>
                    <a:pt x="70" y="141"/>
                  </a:cubicBezTo>
                  <a:cubicBezTo>
                    <a:pt x="109" y="141"/>
                    <a:pt x="141" y="110"/>
                    <a:pt x="141" y="71"/>
                  </a:cubicBezTo>
                  <a:lnTo>
                    <a:pt x="124" y="7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52" name="Freeform 150">
              <a:extLst>
                <a:ext uri="{FF2B5EF4-FFF2-40B4-BE49-F238E27FC236}">
                  <a16:creationId xmlns:a16="http://schemas.microsoft.com/office/drawing/2014/main" id="{AE746E5F-2D0C-1B44-898C-63169117004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62282" y="4978029"/>
              <a:ext cx="1016464" cy="456369"/>
            </a:xfrm>
            <a:custGeom>
              <a:avLst/>
              <a:gdLst>
                <a:gd name="T0" fmla="*/ 45 w 49"/>
                <a:gd name="T1" fmla="*/ 0 h 22"/>
                <a:gd name="T2" fmla="*/ 45 w 49"/>
                <a:gd name="T3" fmla="*/ 18 h 22"/>
                <a:gd name="T4" fmla="*/ 0 w 49"/>
                <a:gd name="T5" fmla="*/ 18 h 22"/>
                <a:gd name="T6" fmla="*/ 0 w 49"/>
                <a:gd name="T7" fmla="*/ 22 h 22"/>
                <a:gd name="T8" fmla="*/ 49 w 49"/>
                <a:gd name="T9" fmla="*/ 22 h 22"/>
                <a:gd name="T10" fmla="*/ 49 w 49"/>
                <a:gd name="T11" fmla="*/ 0 h 22"/>
                <a:gd name="T12" fmla="*/ 45 w 49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9" h="22">
                  <a:moveTo>
                    <a:pt x="45" y="0"/>
                  </a:moveTo>
                  <a:lnTo>
                    <a:pt x="45" y="18"/>
                  </a:lnTo>
                  <a:lnTo>
                    <a:pt x="0" y="18"/>
                  </a:lnTo>
                  <a:lnTo>
                    <a:pt x="0" y="22"/>
                  </a:lnTo>
                  <a:lnTo>
                    <a:pt x="49" y="22"/>
                  </a:lnTo>
                  <a:lnTo>
                    <a:pt x="49" y="0"/>
                  </a:lnTo>
                  <a:lnTo>
                    <a:pt x="4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53" name="Freeform 151">
              <a:extLst>
                <a:ext uri="{FF2B5EF4-FFF2-40B4-BE49-F238E27FC236}">
                  <a16:creationId xmlns:a16="http://schemas.microsoft.com/office/drawing/2014/main" id="{3522AB62-DF0A-E948-AF82-253FB3B6B94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30377" y="5206207"/>
              <a:ext cx="373393" cy="373393"/>
            </a:xfrm>
            <a:custGeom>
              <a:avLst/>
              <a:gdLst>
                <a:gd name="T0" fmla="*/ 124 w 141"/>
                <a:gd name="T1" fmla="*/ 70 h 141"/>
                <a:gd name="T2" fmla="*/ 108 w 141"/>
                <a:gd name="T3" fmla="*/ 70 h 141"/>
                <a:gd name="T4" fmla="*/ 70 w 141"/>
                <a:gd name="T5" fmla="*/ 108 h 141"/>
                <a:gd name="T6" fmla="*/ 33 w 141"/>
                <a:gd name="T7" fmla="*/ 70 h 141"/>
                <a:gd name="T8" fmla="*/ 70 w 141"/>
                <a:gd name="T9" fmla="*/ 33 h 141"/>
                <a:gd name="T10" fmla="*/ 108 w 141"/>
                <a:gd name="T11" fmla="*/ 70 h 141"/>
                <a:gd name="T12" fmla="*/ 124 w 141"/>
                <a:gd name="T13" fmla="*/ 70 h 141"/>
                <a:gd name="T14" fmla="*/ 141 w 141"/>
                <a:gd name="T15" fmla="*/ 70 h 141"/>
                <a:gd name="T16" fmla="*/ 70 w 141"/>
                <a:gd name="T17" fmla="*/ 0 h 141"/>
                <a:gd name="T18" fmla="*/ 0 w 141"/>
                <a:gd name="T19" fmla="*/ 70 h 141"/>
                <a:gd name="T20" fmla="*/ 70 w 141"/>
                <a:gd name="T21" fmla="*/ 141 h 141"/>
                <a:gd name="T22" fmla="*/ 141 w 141"/>
                <a:gd name="T23" fmla="*/ 70 h 141"/>
                <a:gd name="T24" fmla="*/ 124 w 141"/>
                <a:gd name="T25" fmla="*/ 7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1" h="141">
                  <a:moveTo>
                    <a:pt x="124" y="70"/>
                  </a:moveTo>
                  <a:lnTo>
                    <a:pt x="108" y="70"/>
                  </a:lnTo>
                  <a:cubicBezTo>
                    <a:pt x="107" y="91"/>
                    <a:pt x="91" y="108"/>
                    <a:pt x="70" y="108"/>
                  </a:cubicBezTo>
                  <a:cubicBezTo>
                    <a:pt x="50" y="108"/>
                    <a:pt x="33" y="91"/>
                    <a:pt x="33" y="70"/>
                  </a:cubicBezTo>
                  <a:cubicBezTo>
                    <a:pt x="33" y="50"/>
                    <a:pt x="50" y="33"/>
                    <a:pt x="70" y="33"/>
                  </a:cubicBezTo>
                  <a:cubicBezTo>
                    <a:pt x="91" y="33"/>
                    <a:pt x="107" y="50"/>
                    <a:pt x="108" y="70"/>
                  </a:cubicBezTo>
                  <a:lnTo>
                    <a:pt x="124" y="70"/>
                  </a:lnTo>
                  <a:lnTo>
                    <a:pt x="141" y="70"/>
                  </a:lnTo>
                  <a:cubicBezTo>
                    <a:pt x="141" y="31"/>
                    <a:pt x="109" y="0"/>
                    <a:pt x="70" y="0"/>
                  </a:cubicBezTo>
                  <a:cubicBezTo>
                    <a:pt x="31" y="0"/>
                    <a:pt x="0" y="31"/>
                    <a:pt x="0" y="70"/>
                  </a:cubicBezTo>
                  <a:cubicBezTo>
                    <a:pt x="0" y="109"/>
                    <a:pt x="31" y="141"/>
                    <a:pt x="70" y="141"/>
                  </a:cubicBezTo>
                  <a:cubicBezTo>
                    <a:pt x="109" y="141"/>
                    <a:pt x="141" y="109"/>
                    <a:pt x="141" y="70"/>
                  </a:cubicBezTo>
                  <a:lnTo>
                    <a:pt x="124" y="70"/>
                  </a:lnTo>
                </a:path>
              </a:pathLst>
            </a:cu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54" name="Freeform 152">
              <a:extLst>
                <a:ext uri="{FF2B5EF4-FFF2-40B4-BE49-F238E27FC236}">
                  <a16:creationId xmlns:a16="http://schemas.microsoft.com/office/drawing/2014/main" id="{5AF01BC3-4A95-1F30-78C0-72A63A11F030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3197" y="4978029"/>
              <a:ext cx="1016464" cy="456369"/>
            </a:xfrm>
            <a:custGeom>
              <a:avLst/>
              <a:gdLst>
                <a:gd name="T0" fmla="*/ 0 w 49"/>
                <a:gd name="T1" fmla="*/ 0 h 22"/>
                <a:gd name="T2" fmla="*/ 0 w 49"/>
                <a:gd name="T3" fmla="*/ 22 h 22"/>
                <a:gd name="T4" fmla="*/ 49 w 49"/>
                <a:gd name="T5" fmla="*/ 22 h 22"/>
                <a:gd name="T6" fmla="*/ 49 w 49"/>
                <a:gd name="T7" fmla="*/ 18 h 22"/>
                <a:gd name="T8" fmla="*/ 4 w 49"/>
                <a:gd name="T9" fmla="*/ 18 h 22"/>
                <a:gd name="T10" fmla="*/ 4 w 49"/>
                <a:gd name="T11" fmla="*/ 0 h 22"/>
                <a:gd name="T12" fmla="*/ 0 w 49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9" h="22">
                  <a:moveTo>
                    <a:pt x="0" y="0"/>
                  </a:moveTo>
                  <a:lnTo>
                    <a:pt x="0" y="22"/>
                  </a:lnTo>
                  <a:lnTo>
                    <a:pt x="49" y="22"/>
                  </a:lnTo>
                  <a:lnTo>
                    <a:pt x="49" y="18"/>
                  </a:lnTo>
                  <a:lnTo>
                    <a:pt x="4" y="18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55" name="Freeform 153">
              <a:extLst>
                <a:ext uri="{FF2B5EF4-FFF2-40B4-BE49-F238E27FC236}">
                  <a16:creationId xmlns:a16="http://schemas.microsoft.com/office/drawing/2014/main" id="{07A896F7-23EE-6863-4129-86CA448296E0}"/>
                </a:ext>
              </a:extLst>
            </p:cNvPr>
            <p:cNvSpPr>
              <a:spLocks/>
            </p:cNvSpPr>
            <p:nvPr/>
          </p:nvSpPr>
          <p:spPr bwMode="auto">
            <a:xfrm>
              <a:off x="8778174" y="5206207"/>
              <a:ext cx="373393" cy="373393"/>
            </a:xfrm>
            <a:custGeom>
              <a:avLst/>
              <a:gdLst>
                <a:gd name="T0" fmla="*/ 16 w 141"/>
                <a:gd name="T1" fmla="*/ 70 h 141"/>
                <a:gd name="T2" fmla="*/ 0 w 141"/>
                <a:gd name="T3" fmla="*/ 70 h 141"/>
                <a:gd name="T4" fmla="*/ 70 w 141"/>
                <a:gd name="T5" fmla="*/ 141 h 141"/>
                <a:gd name="T6" fmla="*/ 141 w 141"/>
                <a:gd name="T7" fmla="*/ 70 h 141"/>
                <a:gd name="T8" fmla="*/ 70 w 141"/>
                <a:gd name="T9" fmla="*/ 0 h 141"/>
                <a:gd name="T10" fmla="*/ 0 w 141"/>
                <a:gd name="T11" fmla="*/ 70 h 141"/>
                <a:gd name="T12" fmla="*/ 16 w 141"/>
                <a:gd name="T13" fmla="*/ 70 h 141"/>
                <a:gd name="T14" fmla="*/ 33 w 141"/>
                <a:gd name="T15" fmla="*/ 70 h 141"/>
                <a:gd name="T16" fmla="*/ 70 w 141"/>
                <a:gd name="T17" fmla="*/ 33 h 141"/>
                <a:gd name="T18" fmla="*/ 107 w 141"/>
                <a:gd name="T19" fmla="*/ 70 h 141"/>
                <a:gd name="T20" fmla="*/ 70 w 141"/>
                <a:gd name="T21" fmla="*/ 108 h 141"/>
                <a:gd name="T22" fmla="*/ 33 w 141"/>
                <a:gd name="T23" fmla="*/ 70 h 141"/>
                <a:gd name="T24" fmla="*/ 16 w 141"/>
                <a:gd name="T25" fmla="*/ 7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1" h="141">
                  <a:moveTo>
                    <a:pt x="16" y="70"/>
                  </a:moveTo>
                  <a:lnTo>
                    <a:pt x="0" y="70"/>
                  </a:lnTo>
                  <a:cubicBezTo>
                    <a:pt x="0" y="109"/>
                    <a:pt x="31" y="141"/>
                    <a:pt x="70" y="141"/>
                  </a:cubicBezTo>
                  <a:cubicBezTo>
                    <a:pt x="109" y="141"/>
                    <a:pt x="141" y="109"/>
                    <a:pt x="141" y="70"/>
                  </a:cubicBezTo>
                  <a:cubicBezTo>
                    <a:pt x="141" y="31"/>
                    <a:pt x="109" y="0"/>
                    <a:pt x="70" y="0"/>
                  </a:cubicBezTo>
                  <a:cubicBezTo>
                    <a:pt x="31" y="0"/>
                    <a:pt x="0" y="31"/>
                    <a:pt x="0" y="70"/>
                  </a:cubicBezTo>
                  <a:lnTo>
                    <a:pt x="16" y="70"/>
                  </a:lnTo>
                  <a:lnTo>
                    <a:pt x="33" y="70"/>
                  </a:lnTo>
                  <a:cubicBezTo>
                    <a:pt x="33" y="50"/>
                    <a:pt x="50" y="33"/>
                    <a:pt x="70" y="33"/>
                  </a:cubicBezTo>
                  <a:cubicBezTo>
                    <a:pt x="91" y="33"/>
                    <a:pt x="107" y="50"/>
                    <a:pt x="107" y="70"/>
                  </a:cubicBezTo>
                  <a:cubicBezTo>
                    <a:pt x="107" y="91"/>
                    <a:pt x="91" y="108"/>
                    <a:pt x="70" y="108"/>
                  </a:cubicBezTo>
                  <a:cubicBezTo>
                    <a:pt x="50" y="108"/>
                    <a:pt x="33" y="91"/>
                    <a:pt x="33" y="70"/>
                  </a:cubicBezTo>
                  <a:lnTo>
                    <a:pt x="16" y="7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56" name="Freeform 154">
              <a:extLst>
                <a:ext uri="{FF2B5EF4-FFF2-40B4-BE49-F238E27FC236}">
                  <a16:creationId xmlns:a16="http://schemas.microsoft.com/office/drawing/2014/main" id="{DC23625C-7997-64CE-40A0-54D245BCECA5}"/>
                </a:ext>
              </a:extLst>
            </p:cNvPr>
            <p:cNvSpPr>
              <a:spLocks/>
            </p:cNvSpPr>
            <p:nvPr/>
          </p:nvSpPr>
          <p:spPr bwMode="auto">
            <a:xfrm>
              <a:off x="7554269" y="2219065"/>
              <a:ext cx="373393" cy="394143"/>
            </a:xfrm>
            <a:custGeom>
              <a:avLst/>
              <a:gdLst>
                <a:gd name="T0" fmla="*/ 124 w 141"/>
                <a:gd name="T1" fmla="*/ 70 h 141"/>
                <a:gd name="T2" fmla="*/ 108 w 141"/>
                <a:gd name="T3" fmla="*/ 70 h 141"/>
                <a:gd name="T4" fmla="*/ 70 w 141"/>
                <a:gd name="T5" fmla="*/ 108 h 141"/>
                <a:gd name="T6" fmla="*/ 33 w 141"/>
                <a:gd name="T7" fmla="*/ 70 h 141"/>
                <a:gd name="T8" fmla="*/ 70 w 141"/>
                <a:gd name="T9" fmla="*/ 33 h 141"/>
                <a:gd name="T10" fmla="*/ 108 w 141"/>
                <a:gd name="T11" fmla="*/ 70 h 141"/>
                <a:gd name="T12" fmla="*/ 124 w 141"/>
                <a:gd name="T13" fmla="*/ 70 h 141"/>
                <a:gd name="T14" fmla="*/ 141 w 141"/>
                <a:gd name="T15" fmla="*/ 70 h 141"/>
                <a:gd name="T16" fmla="*/ 70 w 141"/>
                <a:gd name="T17" fmla="*/ 0 h 141"/>
                <a:gd name="T18" fmla="*/ 0 w 141"/>
                <a:gd name="T19" fmla="*/ 70 h 141"/>
                <a:gd name="T20" fmla="*/ 70 w 141"/>
                <a:gd name="T21" fmla="*/ 141 h 141"/>
                <a:gd name="T22" fmla="*/ 141 w 141"/>
                <a:gd name="T23" fmla="*/ 70 h 141"/>
                <a:gd name="T24" fmla="*/ 124 w 141"/>
                <a:gd name="T25" fmla="*/ 7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1" h="141">
                  <a:moveTo>
                    <a:pt x="124" y="70"/>
                  </a:moveTo>
                  <a:lnTo>
                    <a:pt x="108" y="70"/>
                  </a:lnTo>
                  <a:cubicBezTo>
                    <a:pt x="108" y="91"/>
                    <a:pt x="91" y="108"/>
                    <a:pt x="70" y="108"/>
                  </a:cubicBezTo>
                  <a:cubicBezTo>
                    <a:pt x="50" y="108"/>
                    <a:pt x="33" y="91"/>
                    <a:pt x="33" y="70"/>
                  </a:cubicBezTo>
                  <a:cubicBezTo>
                    <a:pt x="33" y="50"/>
                    <a:pt x="50" y="33"/>
                    <a:pt x="70" y="33"/>
                  </a:cubicBezTo>
                  <a:cubicBezTo>
                    <a:pt x="91" y="33"/>
                    <a:pt x="108" y="50"/>
                    <a:pt x="108" y="70"/>
                  </a:cubicBezTo>
                  <a:lnTo>
                    <a:pt x="124" y="70"/>
                  </a:lnTo>
                  <a:lnTo>
                    <a:pt x="141" y="70"/>
                  </a:lnTo>
                  <a:cubicBezTo>
                    <a:pt x="141" y="32"/>
                    <a:pt x="109" y="0"/>
                    <a:pt x="70" y="0"/>
                  </a:cubicBezTo>
                  <a:cubicBezTo>
                    <a:pt x="31" y="0"/>
                    <a:pt x="0" y="32"/>
                    <a:pt x="0" y="70"/>
                  </a:cubicBezTo>
                  <a:cubicBezTo>
                    <a:pt x="0" y="109"/>
                    <a:pt x="31" y="141"/>
                    <a:pt x="70" y="141"/>
                  </a:cubicBezTo>
                  <a:cubicBezTo>
                    <a:pt x="109" y="141"/>
                    <a:pt x="141" y="109"/>
                    <a:pt x="141" y="70"/>
                  </a:cubicBezTo>
                  <a:lnTo>
                    <a:pt x="124" y="7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</p:grpSp>
      <p:grpSp>
        <p:nvGrpSpPr>
          <p:cNvPr id="57" name="Air_hostess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DCDC2CEA-D469-EEEB-3890-AAB33D7BF281}"/>
              </a:ext>
            </a:extLst>
          </p:cNvPr>
          <p:cNvGrpSpPr>
            <a:grpSpLocks noChangeAspect="1"/>
          </p:cNvGrpSpPr>
          <p:nvPr/>
        </p:nvGrpSpPr>
        <p:grpSpPr>
          <a:xfrm>
            <a:off x="2925894" y="2317354"/>
            <a:ext cx="448134" cy="541976"/>
            <a:chOff x="7264401" y="4197351"/>
            <a:chExt cx="371475" cy="449263"/>
          </a:xfrm>
          <a:solidFill>
            <a:schemeClr val="bg1"/>
          </a:solidFill>
        </p:grpSpPr>
        <p:sp>
          <p:nvSpPr>
            <p:cNvPr id="58" name="Freeform 618">
              <a:extLst>
                <a:ext uri="{FF2B5EF4-FFF2-40B4-BE49-F238E27FC236}">
                  <a16:creationId xmlns:a16="http://schemas.microsoft.com/office/drawing/2014/main" id="{11A74AA5-DE20-D341-7876-ECFDD6FF3544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0938" y="4435476"/>
              <a:ext cx="19050" cy="19050"/>
            </a:xfrm>
            <a:custGeom>
              <a:avLst/>
              <a:gdLst>
                <a:gd name="T0" fmla="*/ 13 w 23"/>
                <a:gd name="T1" fmla="*/ 23 h 23"/>
                <a:gd name="T2" fmla="*/ 0 w 23"/>
                <a:gd name="T3" fmla="*/ 10 h 23"/>
                <a:gd name="T4" fmla="*/ 13 w 23"/>
                <a:gd name="T5" fmla="*/ 0 h 23"/>
                <a:gd name="T6" fmla="*/ 23 w 23"/>
                <a:gd name="T7" fmla="*/ 10 h 23"/>
                <a:gd name="T8" fmla="*/ 13 w 23"/>
                <a:gd name="T9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13" y="23"/>
                  </a:moveTo>
                  <a:cubicBezTo>
                    <a:pt x="8" y="19"/>
                    <a:pt x="3" y="15"/>
                    <a:pt x="0" y="10"/>
                  </a:cubicBezTo>
                  <a:lnTo>
                    <a:pt x="13" y="0"/>
                  </a:lnTo>
                  <a:cubicBezTo>
                    <a:pt x="16" y="4"/>
                    <a:pt x="19" y="7"/>
                    <a:pt x="23" y="10"/>
                  </a:cubicBezTo>
                  <a:lnTo>
                    <a:pt x="13" y="2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59" name="Freeform 619">
              <a:extLst>
                <a:ext uri="{FF2B5EF4-FFF2-40B4-BE49-F238E27FC236}">
                  <a16:creationId xmlns:a16="http://schemas.microsoft.com/office/drawing/2014/main" id="{23A50170-40F9-FE5E-44E2-BA33BEF13EA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00913" y="4197351"/>
              <a:ext cx="298450" cy="285750"/>
            </a:xfrm>
            <a:custGeom>
              <a:avLst/>
              <a:gdLst>
                <a:gd name="T0" fmla="*/ 360 w 371"/>
                <a:gd name="T1" fmla="*/ 336 h 354"/>
                <a:gd name="T2" fmla="*/ 360 w 371"/>
                <a:gd name="T3" fmla="*/ 336 h 354"/>
                <a:gd name="T4" fmla="*/ 16 w 371"/>
                <a:gd name="T5" fmla="*/ 344 h 354"/>
                <a:gd name="T6" fmla="*/ 16 w 371"/>
                <a:gd name="T7" fmla="*/ 344 h 354"/>
                <a:gd name="T8" fmla="*/ 16 w 371"/>
                <a:gd name="T9" fmla="*/ 344 h 354"/>
                <a:gd name="T10" fmla="*/ 354 w 371"/>
                <a:gd name="T11" fmla="*/ 345 h 354"/>
                <a:gd name="T12" fmla="*/ 354 w 371"/>
                <a:gd name="T13" fmla="*/ 345 h 354"/>
                <a:gd name="T14" fmla="*/ 359 w 371"/>
                <a:gd name="T15" fmla="*/ 353 h 354"/>
                <a:gd name="T16" fmla="*/ 357 w 371"/>
                <a:gd name="T17" fmla="*/ 353 h 354"/>
                <a:gd name="T18" fmla="*/ 339 w 371"/>
                <a:gd name="T19" fmla="*/ 350 h 354"/>
                <a:gd name="T20" fmla="*/ 342 w 371"/>
                <a:gd name="T21" fmla="*/ 334 h 354"/>
                <a:gd name="T22" fmla="*/ 347 w 371"/>
                <a:gd name="T23" fmla="*/ 334 h 354"/>
                <a:gd name="T24" fmla="*/ 319 w 371"/>
                <a:gd name="T25" fmla="*/ 184 h 354"/>
                <a:gd name="T26" fmla="*/ 320 w 371"/>
                <a:gd name="T27" fmla="*/ 165 h 354"/>
                <a:gd name="T28" fmla="*/ 258 w 371"/>
                <a:gd name="T29" fmla="*/ 44 h 354"/>
                <a:gd name="T30" fmla="*/ 112 w 371"/>
                <a:gd name="T31" fmla="*/ 44 h 354"/>
                <a:gd name="T32" fmla="*/ 50 w 371"/>
                <a:gd name="T33" fmla="*/ 165 h 354"/>
                <a:gd name="T34" fmla="*/ 51 w 371"/>
                <a:gd name="T35" fmla="*/ 184 h 354"/>
                <a:gd name="T36" fmla="*/ 23 w 371"/>
                <a:gd name="T37" fmla="*/ 334 h 354"/>
                <a:gd name="T38" fmla="*/ 108 w 371"/>
                <a:gd name="T39" fmla="*/ 295 h 354"/>
                <a:gd name="T40" fmla="*/ 122 w 371"/>
                <a:gd name="T41" fmla="*/ 305 h 354"/>
                <a:gd name="T42" fmla="*/ 13 w 371"/>
                <a:gd name="T43" fmla="*/ 353 h 354"/>
                <a:gd name="T44" fmla="*/ 2 w 371"/>
                <a:gd name="T45" fmla="*/ 347 h 354"/>
                <a:gd name="T46" fmla="*/ 3 w 371"/>
                <a:gd name="T47" fmla="*/ 334 h 354"/>
                <a:gd name="T48" fmla="*/ 34 w 371"/>
                <a:gd name="T49" fmla="*/ 185 h 354"/>
                <a:gd name="T50" fmla="*/ 33 w 371"/>
                <a:gd name="T51" fmla="*/ 166 h 354"/>
                <a:gd name="T52" fmla="*/ 103 w 371"/>
                <a:gd name="T53" fmla="*/ 30 h 354"/>
                <a:gd name="T54" fmla="*/ 267 w 371"/>
                <a:gd name="T55" fmla="*/ 30 h 354"/>
                <a:gd name="T56" fmla="*/ 337 w 371"/>
                <a:gd name="T57" fmla="*/ 166 h 354"/>
                <a:gd name="T58" fmla="*/ 336 w 371"/>
                <a:gd name="T59" fmla="*/ 185 h 354"/>
                <a:gd name="T60" fmla="*/ 368 w 371"/>
                <a:gd name="T61" fmla="*/ 335 h 354"/>
                <a:gd name="T62" fmla="*/ 368 w 371"/>
                <a:gd name="T63" fmla="*/ 348 h 354"/>
                <a:gd name="T64" fmla="*/ 359 w 371"/>
                <a:gd name="T65" fmla="*/ 353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71" h="354">
                  <a:moveTo>
                    <a:pt x="360" y="336"/>
                  </a:moveTo>
                  <a:lnTo>
                    <a:pt x="360" y="336"/>
                  </a:lnTo>
                  <a:close/>
                  <a:moveTo>
                    <a:pt x="16" y="344"/>
                  </a:moveTo>
                  <a:cubicBezTo>
                    <a:pt x="16" y="344"/>
                    <a:pt x="16" y="344"/>
                    <a:pt x="16" y="344"/>
                  </a:cubicBezTo>
                  <a:cubicBezTo>
                    <a:pt x="16" y="344"/>
                    <a:pt x="16" y="344"/>
                    <a:pt x="16" y="344"/>
                  </a:cubicBezTo>
                  <a:close/>
                  <a:moveTo>
                    <a:pt x="354" y="345"/>
                  </a:moveTo>
                  <a:lnTo>
                    <a:pt x="354" y="345"/>
                  </a:lnTo>
                  <a:close/>
                  <a:moveTo>
                    <a:pt x="359" y="353"/>
                  </a:moveTo>
                  <a:cubicBezTo>
                    <a:pt x="358" y="353"/>
                    <a:pt x="358" y="353"/>
                    <a:pt x="357" y="353"/>
                  </a:cubicBezTo>
                  <a:cubicBezTo>
                    <a:pt x="353" y="352"/>
                    <a:pt x="347" y="351"/>
                    <a:pt x="339" y="350"/>
                  </a:cubicBezTo>
                  <a:lnTo>
                    <a:pt x="342" y="334"/>
                  </a:lnTo>
                  <a:cubicBezTo>
                    <a:pt x="344" y="334"/>
                    <a:pt x="345" y="334"/>
                    <a:pt x="347" y="334"/>
                  </a:cubicBezTo>
                  <a:cubicBezTo>
                    <a:pt x="314" y="283"/>
                    <a:pt x="317" y="226"/>
                    <a:pt x="319" y="184"/>
                  </a:cubicBezTo>
                  <a:cubicBezTo>
                    <a:pt x="320" y="178"/>
                    <a:pt x="320" y="171"/>
                    <a:pt x="320" y="165"/>
                  </a:cubicBezTo>
                  <a:cubicBezTo>
                    <a:pt x="321" y="115"/>
                    <a:pt x="297" y="69"/>
                    <a:pt x="258" y="44"/>
                  </a:cubicBezTo>
                  <a:cubicBezTo>
                    <a:pt x="214" y="17"/>
                    <a:pt x="156" y="17"/>
                    <a:pt x="112" y="44"/>
                  </a:cubicBezTo>
                  <a:cubicBezTo>
                    <a:pt x="72" y="69"/>
                    <a:pt x="48" y="115"/>
                    <a:pt x="50" y="165"/>
                  </a:cubicBezTo>
                  <a:cubicBezTo>
                    <a:pt x="50" y="171"/>
                    <a:pt x="50" y="178"/>
                    <a:pt x="51" y="184"/>
                  </a:cubicBezTo>
                  <a:cubicBezTo>
                    <a:pt x="53" y="226"/>
                    <a:pt x="56" y="283"/>
                    <a:pt x="23" y="334"/>
                  </a:cubicBezTo>
                  <a:cubicBezTo>
                    <a:pt x="47" y="330"/>
                    <a:pt x="91" y="319"/>
                    <a:pt x="108" y="295"/>
                  </a:cubicBezTo>
                  <a:lnTo>
                    <a:pt x="122" y="305"/>
                  </a:lnTo>
                  <a:cubicBezTo>
                    <a:pt x="98" y="338"/>
                    <a:pt x="38" y="349"/>
                    <a:pt x="13" y="353"/>
                  </a:cubicBezTo>
                  <a:cubicBezTo>
                    <a:pt x="9" y="354"/>
                    <a:pt x="4" y="351"/>
                    <a:pt x="2" y="347"/>
                  </a:cubicBezTo>
                  <a:cubicBezTo>
                    <a:pt x="0" y="343"/>
                    <a:pt x="0" y="338"/>
                    <a:pt x="3" y="334"/>
                  </a:cubicBezTo>
                  <a:cubicBezTo>
                    <a:pt x="39" y="286"/>
                    <a:pt x="36" y="228"/>
                    <a:pt x="34" y="185"/>
                  </a:cubicBezTo>
                  <a:cubicBezTo>
                    <a:pt x="34" y="178"/>
                    <a:pt x="33" y="172"/>
                    <a:pt x="33" y="166"/>
                  </a:cubicBezTo>
                  <a:cubicBezTo>
                    <a:pt x="32" y="110"/>
                    <a:pt x="58" y="58"/>
                    <a:pt x="103" y="30"/>
                  </a:cubicBezTo>
                  <a:cubicBezTo>
                    <a:pt x="152" y="0"/>
                    <a:pt x="218" y="0"/>
                    <a:pt x="267" y="30"/>
                  </a:cubicBezTo>
                  <a:cubicBezTo>
                    <a:pt x="311" y="58"/>
                    <a:pt x="338" y="110"/>
                    <a:pt x="337" y="166"/>
                  </a:cubicBezTo>
                  <a:cubicBezTo>
                    <a:pt x="337" y="172"/>
                    <a:pt x="336" y="178"/>
                    <a:pt x="336" y="185"/>
                  </a:cubicBezTo>
                  <a:cubicBezTo>
                    <a:pt x="334" y="228"/>
                    <a:pt x="331" y="286"/>
                    <a:pt x="368" y="335"/>
                  </a:cubicBezTo>
                  <a:cubicBezTo>
                    <a:pt x="370" y="339"/>
                    <a:pt x="371" y="344"/>
                    <a:pt x="368" y="348"/>
                  </a:cubicBezTo>
                  <a:cubicBezTo>
                    <a:pt x="366" y="351"/>
                    <a:pt x="363" y="353"/>
                    <a:pt x="359" y="353"/>
                  </a:cubicBezTo>
                </a:path>
              </a:pathLst>
            </a:cu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60" name="Freeform 620">
              <a:extLst>
                <a:ext uri="{FF2B5EF4-FFF2-40B4-BE49-F238E27FC236}">
                  <a16:creationId xmlns:a16="http://schemas.microsoft.com/office/drawing/2014/main" id="{E541AAF0-D93F-F504-16EC-2BBAF2BF3BE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64401" y="4449763"/>
              <a:ext cx="152400" cy="196850"/>
            </a:xfrm>
            <a:custGeom>
              <a:avLst/>
              <a:gdLst>
                <a:gd name="T0" fmla="*/ 17 w 190"/>
                <a:gd name="T1" fmla="*/ 243 h 243"/>
                <a:gd name="T2" fmla="*/ 0 w 190"/>
                <a:gd name="T3" fmla="*/ 243 h 243"/>
                <a:gd name="T4" fmla="*/ 0 w 190"/>
                <a:gd name="T5" fmla="*/ 170 h 243"/>
                <a:gd name="T6" fmla="*/ 67 w 190"/>
                <a:gd name="T7" fmla="*/ 81 h 243"/>
                <a:gd name="T8" fmla="*/ 148 w 190"/>
                <a:gd name="T9" fmla="*/ 56 h 243"/>
                <a:gd name="T10" fmla="*/ 173 w 190"/>
                <a:gd name="T11" fmla="*/ 23 h 243"/>
                <a:gd name="T12" fmla="*/ 173 w 190"/>
                <a:gd name="T13" fmla="*/ 0 h 243"/>
                <a:gd name="T14" fmla="*/ 190 w 190"/>
                <a:gd name="T15" fmla="*/ 0 h 243"/>
                <a:gd name="T16" fmla="*/ 190 w 190"/>
                <a:gd name="T17" fmla="*/ 23 h 243"/>
                <a:gd name="T18" fmla="*/ 153 w 190"/>
                <a:gd name="T19" fmla="*/ 72 h 243"/>
                <a:gd name="T20" fmla="*/ 72 w 190"/>
                <a:gd name="T21" fmla="*/ 97 h 243"/>
                <a:gd name="T22" fmla="*/ 17 w 190"/>
                <a:gd name="T23" fmla="*/ 171 h 243"/>
                <a:gd name="T24" fmla="*/ 17 w 190"/>
                <a:gd name="T25" fmla="*/ 243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0" h="243">
                  <a:moveTo>
                    <a:pt x="17" y="243"/>
                  </a:moveTo>
                  <a:lnTo>
                    <a:pt x="0" y="243"/>
                  </a:lnTo>
                  <a:lnTo>
                    <a:pt x="0" y="170"/>
                  </a:lnTo>
                  <a:cubicBezTo>
                    <a:pt x="0" y="129"/>
                    <a:pt x="27" y="93"/>
                    <a:pt x="67" y="81"/>
                  </a:cubicBezTo>
                  <a:lnTo>
                    <a:pt x="148" y="56"/>
                  </a:lnTo>
                  <a:cubicBezTo>
                    <a:pt x="163" y="52"/>
                    <a:pt x="173" y="39"/>
                    <a:pt x="173" y="23"/>
                  </a:cubicBezTo>
                  <a:lnTo>
                    <a:pt x="173" y="0"/>
                  </a:lnTo>
                  <a:lnTo>
                    <a:pt x="190" y="0"/>
                  </a:lnTo>
                  <a:lnTo>
                    <a:pt x="190" y="23"/>
                  </a:lnTo>
                  <a:cubicBezTo>
                    <a:pt x="190" y="46"/>
                    <a:pt x="175" y="66"/>
                    <a:pt x="153" y="72"/>
                  </a:cubicBezTo>
                  <a:lnTo>
                    <a:pt x="72" y="97"/>
                  </a:lnTo>
                  <a:cubicBezTo>
                    <a:pt x="39" y="107"/>
                    <a:pt x="17" y="137"/>
                    <a:pt x="17" y="171"/>
                  </a:cubicBezTo>
                  <a:lnTo>
                    <a:pt x="17" y="243"/>
                  </a:lnTo>
                </a:path>
              </a:pathLst>
            </a:cu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61" name="Freeform 621">
              <a:extLst>
                <a:ext uri="{FF2B5EF4-FFF2-40B4-BE49-F238E27FC236}">
                  <a16:creationId xmlns:a16="http://schemas.microsoft.com/office/drawing/2014/main" id="{6FB8DC21-69BB-C63D-A766-EBC720BDECA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8563" y="4506913"/>
              <a:ext cx="87313" cy="139700"/>
            </a:xfrm>
            <a:custGeom>
              <a:avLst/>
              <a:gdLst>
                <a:gd name="T0" fmla="*/ 108 w 108"/>
                <a:gd name="T1" fmla="*/ 173 h 173"/>
                <a:gd name="T2" fmla="*/ 91 w 108"/>
                <a:gd name="T3" fmla="*/ 173 h 173"/>
                <a:gd name="T4" fmla="*/ 91 w 108"/>
                <a:gd name="T5" fmla="*/ 101 h 173"/>
                <a:gd name="T6" fmla="*/ 36 w 108"/>
                <a:gd name="T7" fmla="*/ 27 h 173"/>
                <a:gd name="T8" fmla="*/ 0 w 108"/>
                <a:gd name="T9" fmla="*/ 16 h 173"/>
                <a:gd name="T10" fmla="*/ 4 w 108"/>
                <a:gd name="T11" fmla="*/ 0 h 173"/>
                <a:gd name="T12" fmla="*/ 41 w 108"/>
                <a:gd name="T13" fmla="*/ 11 h 173"/>
                <a:gd name="T14" fmla="*/ 108 w 108"/>
                <a:gd name="T15" fmla="*/ 101 h 173"/>
                <a:gd name="T16" fmla="*/ 108 w 108"/>
                <a:gd name="T17" fmla="*/ 173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8" h="173">
                  <a:moveTo>
                    <a:pt x="108" y="173"/>
                  </a:moveTo>
                  <a:lnTo>
                    <a:pt x="91" y="173"/>
                  </a:lnTo>
                  <a:lnTo>
                    <a:pt x="91" y="101"/>
                  </a:lnTo>
                  <a:cubicBezTo>
                    <a:pt x="91" y="67"/>
                    <a:pt x="69" y="37"/>
                    <a:pt x="36" y="27"/>
                  </a:cubicBezTo>
                  <a:lnTo>
                    <a:pt x="0" y="16"/>
                  </a:lnTo>
                  <a:lnTo>
                    <a:pt x="4" y="0"/>
                  </a:lnTo>
                  <a:lnTo>
                    <a:pt x="41" y="11"/>
                  </a:lnTo>
                  <a:cubicBezTo>
                    <a:pt x="81" y="23"/>
                    <a:pt x="108" y="59"/>
                    <a:pt x="108" y="101"/>
                  </a:cubicBezTo>
                  <a:lnTo>
                    <a:pt x="108" y="17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62" name="Freeform 622">
              <a:extLst>
                <a:ext uri="{FF2B5EF4-FFF2-40B4-BE49-F238E27FC236}">
                  <a16:creationId xmlns:a16="http://schemas.microsoft.com/office/drawing/2014/main" id="{2DA062E3-BCA8-1B08-02AC-E49C4B298C81}"/>
                </a:ext>
              </a:extLst>
            </p:cNvPr>
            <p:cNvSpPr>
              <a:spLocks/>
            </p:cNvSpPr>
            <p:nvPr/>
          </p:nvSpPr>
          <p:spPr bwMode="auto">
            <a:xfrm>
              <a:off x="7483476" y="4449763"/>
              <a:ext cx="12700" cy="25400"/>
            </a:xfrm>
            <a:custGeom>
              <a:avLst/>
              <a:gdLst>
                <a:gd name="T0" fmla="*/ 1 w 17"/>
                <a:gd name="T1" fmla="*/ 31 h 31"/>
                <a:gd name="T2" fmla="*/ 0 w 17"/>
                <a:gd name="T3" fmla="*/ 23 h 31"/>
                <a:gd name="T4" fmla="*/ 0 w 17"/>
                <a:gd name="T5" fmla="*/ 0 h 31"/>
                <a:gd name="T6" fmla="*/ 17 w 17"/>
                <a:gd name="T7" fmla="*/ 0 h 31"/>
                <a:gd name="T8" fmla="*/ 17 w 17"/>
                <a:gd name="T9" fmla="*/ 23 h 31"/>
                <a:gd name="T10" fmla="*/ 17 w 17"/>
                <a:gd name="T11" fmla="*/ 29 h 31"/>
                <a:gd name="T12" fmla="*/ 1 w 17"/>
                <a:gd name="T13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31">
                  <a:moveTo>
                    <a:pt x="1" y="31"/>
                  </a:moveTo>
                  <a:cubicBezTo>
                    <a:pt x="0" y="29"/>
                    <a:pt x="0" y="26"/>
                    <a:pt x="0" y="23"/>
                  </a:cubicBezTo>
                  <a:lnTo>
                    <a:pt x="0" y="0"/>
                  </a:lnTo>
                  <a:lnTo>
                    <a:pt x="17" y="0"/>
                  </a:lnTo>
                  <a:lnTo>
                    <a:pt x="17" y="23"/>
                  </a:lnTo>
                  <a:cubicBezTo>
                    <a:pt x="17" y="25"/>
                    <a:pt x="17" y="27"/>
                    <a:pt x="17" y="29"/>
                  </a:cubicBezTo>
                  <a:lnTo>
                    <a:pt x="1" y="3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63" name="Freeform 623">
              <a:extLst>
                <a:ext uri="{FF2B5EF4-FFF2-40B4-BE49-F238E27FC236}">
                  <a16:creationId xmlns:a16="http://schemas.microsoft.com/office/drawing/2014/main" id="{A5BBC2D8-5FD1-393F-86A5-90A18385D3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73938" y="4291013"/>
              <a:ext cx="152400" cy="185738"/>
            </a:xfrm>
            <a:custGeom>
              <a:avLst/>
              <a:gdLst>
                <a:gd name="T0" fmla="*/ 17 w 190"/>
                <a:gd name="T1" fmla="*/ 40 h 230"/>
                <a:gd name="T2" fmla="*/ 17 w 190"/>
                <a:gd name="T3" fmla="*/ 143 h 230"/>
                <a:gd name="T4" fmla="*/ 70 w 190"/>
                <a:gd name="T5" fmla="*/ 207 h 230"/>
                <a:gd name="T6" fmla="*/ 120 w 190"/>
                <a:gd name="T7" fmla="*/ 207 h 230"/>
                <a:gd name="T8" fmla="*/ 173 w 190"/>
                <a:gd name="T9" fmla="*/ 143 h 230"/>
                <a:gd name="T10" fmla="*/ 173 w 190"/>
                <a:gd name="T11" fmla="*/ 30 h 230"/>
                <a:gd name="T12" fmla="*/ 98 w 190"/>
                <a:gd name="T13" fmla="*/ 41 h 230"/>
                <a:gd name="T14" fmla="*/ 17 w 190"/>
                <a:gd name="T15" fmla="*/ 40 h 230"/>
                <a:gd name="T16" fmla="*/ 95 w 190"/>
                <a:gd name="T17" fmla="*/ 230 h 230"/>
                <a:gd name="T18" fmla="*/ 61 w 190"/>
                <a:gd name="T19" fmla="*/ 221 h 230"/>
                <a:gd name="T20" fmla="*/ 0 w 190"/>
                <a:gd name="T21" fmla="*/ 143 h 230"/>
                <a:gd name="T22" fmla="*/ 0 w 190"/>
                <a:gd name="T23" fmla="*/ 24 h 230"/>
                <a:gd name="T24" fmla="*/ 5 w 190"/>
                <a:gd name="T25" fmla="*/ 17 h 230"/>
                <a:gd name="T26" fmla="*/ 14 w 190"/>
                <a:gd name="T27" fmla="*/ 18 h 230"/>
                <a:gd name="T28" fmla="*/ 91 w 190"/>
                <a:gd name="T29" fmla="*/ 26 h 230"/>
                <a:gd name="T30" fmla="*/ 185 w 190"/>
                <a:gd name="T31" fmla="*/ 17 h 230"/>
                <a:gd name="T32" fmla="*/ 190 w 190"/>
                <a:gd name="T33" fmla="*/ 24 h 230"/>
                <a:gd name="T34" fmla="*/ 190 w 190"/>
                <a:gd name="T35" fmla="*/ 143 h 230"/>
                <a:gd name="T36" fmla="*/ 128 w 190"/>
                <a:gd name="T37" fmla="*/ 221 h 230"/>
                <a:gd name="T38" fmla="*/ 95 w 190"/>
                <a:gd name="T39" fmla="*/ 23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0" h="230">
                  <a:moveTo>
                    <a:pt x="17" y="40"/>
                  </a:moveTo>
                  <a:lnTo>
                    <a:pt x="17" y="143"/>
                  </a:lnTo>
                  <a:cubicBezTo>
                    <a:pt x="17" y="169"/>
                    <a:pt x="50" y="194"/>
                    <a:pt x="70" y="207"/>
                  </a:cubicBezTo>
                  <a:cubicBezTo>
                    <a:pt x="85" y="216"/>
                    <a:pt x="105" y="216"/>
                    <a:pt x="120" y="207"/>
                  </a:cubicBezTo>
                  <a:cubicBezTo>
                    <a:pt x="140" y="194"/>
                    <a:pt x="173" y="169"/>
                    <a:pt x="173" y="143"/>
                  </a:cubicBezTo>
                  <a:lnTo>
                    <a:pt x="173" y="30"/>
                  </a:lnTo>
                  <a:cubicBezTo>
                    <a:pt x="163" y="27"/>
                    <a:pt x="136" y="23"/>
                    <a:pt x="98" y="41"/>
                  </a:cubicBezTo>
                  <a:cubicBezTo>
                    <a:pt x="63" y="58"/>
                    <a:pt x="33" y="48"/>
                    <a:pt x="17" y="40"/>
                  </a:cubicBezTo>
                  <a:close/>
                  <a:moveTo>
                    <a:pt x="95" y="230"/>
                  </a:moveTo>
                  <a:cubicBezTo>
                    <a:pt x="83" y="230"/>
                    <a:pt x="71" y="227"/>
                    <a:pt x="61" y="221"/>
                  </a:cubicBezTo>
                  <a:cubicBezTo>
                    <a:pt x="33" y="203"/>
                    <a:pt x="0" y="176"/>
                    <a:pt x="0" y="143"/>
                  </a:cubicBezTo>
                  <a:lnTo>
                    <a:pt x="0" y="24"/>
                  </a:lnTo>
                  <a:cubicBezTo>
                    <a:pt x="0" y="21"/>
                    <a:pt x="2" y="18"/>
                    <a:pt x="5" y="17"/>
                  </a:cubicBezTo>
                  <a:cubicBezTo>
                    <a:pt x="8" y="16"/>
                    <a:pt x="11" y="16"/>
                    <a:pt x="14" y="18"/>
                  </a:cubicBezTo>
                  <a:cubicBezTo>
                    <a:pt x="15" y="19"/>
                    <a:pt x="47" y="46"/>
                    <a:pt x="91" y="26"/>
                  </a:cubicBezTo>
                  <a:cubicBezTo>
                    <a:pt x="147" y="0"/>
                    <a:pt x="184" y="16"/>
                    <a:pt x="185" y="17"/>
                  </a:cubicBezTo>
                  <a:cubicBezTo>
                    <a:pt x="188" y="18"/>
                    <a:pt x="190" y="21"/>
                    <a:pt x="190" y="24"/>
                  </a:cubicBezTo>
                  <a:lnTo>
                    <a:pt x="190" y="143"/>
                  </a:lnTo>
                  <a:cubicBezTo>
                    <a:pt x="190" y="176"/>
                    <a:pt x="156" y="203"/>
                    <a:pt x="128" y="221"/>
                  </a:cubicBezTo>
                  <a:cubicBezTo>
                    <a:pt x="118" y="227"/>
                    <a:pt x="107" y="230"/>
                    <a:pt x="95" y="23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64" name="Rectangle 624">
              <a:extLst>
                <a:ext uri="{FF2B5EF4-FFF2-40B4-BE49-F238E27FC236}">
                  <a16:creationId xmlns:a16="http://schemas.microsoft.com/office/drawing/2014/main" id="{A0E0B0E3-31F1-69B6-1E96-543C49031A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70788" y="4587876"/>
              <a:ext cx="12700" cy="58738"/>
            </a:xfrm>
            <a:prstGeom prst="rect">
              <a:avLst/>
            </a:pr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65" name="Rectangle 625">
              <a:extLst>
                <a:ext uri="{FF2B5EF4-FFF2-40B4-BE49-F238E27FC236}">
                  <a16:creationId xmlns:a16="http://schemas.microsoft.com/office/drawing/2014/main" id="{029FC712-F98E-1FD4-FFBE-13313BC84B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16788" y="4587876"/>
              <a:ext cx="12700" cy="58738"/>
            </a:xfrm>
            <a:prstGeom prst="rect">
              <a:avLst/>
            </a:pr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66" name="Freeform 626">
              <a:extLst>
                <a:ext uri="{FF2B5EF4-FFF2-40B4-BE49-F238E27FC236}">
                  <a16:creationId xmlns:a16="http://schemas.microsoft.com/office/drawing/2014/main" id="{3583D64B-D418-400C-3559-603FADD42889}"/>
                </a:ext>
              </a:extLst>
            </p:cNvPr>
            <p:cNvSpPr>
              <a:spLocks/>
            </p:cNvSpPr>
            <p:nvPr/>
          </p:nvSpPr>
          <p:spPr bwMode="auto">
            <a:xfrm>
              <a:off x="7391401" y="4495801"/>
              <a:ext cx="74613" cy="50800"/>
            </a:xfrm>
            <a:custGeom>
              <a:avLst/>
              <a:gdLst>
                <a:gd name="T0" fmla="*/ 74 w 94"/>
                <a:gd name="T1" fmla="*/ 63 h 63"/>
                <a:gd name="T2" fmla="*/ 0 w 94"/>
                <a:gd name="T3" fmla="*/ 0 h 63"/>
                <a:gd name="T4" fmla="*/ 17 w 94"/>
                <a:gd name="T5" fmla="*/ 0 h 63"/>
                <a:gd name="T6" fmla="*/ 74 w 94"/>
                <a:gd name="T7" fmla="*/ 47 h 63"/>
                <a:gd name="T8" fmla="*/ 90 w 94"/>
                <a:gd name="T9" fmla="*/ 45 h 63"/>
                <a:gd name="T10" fmla="*/ 94 w 94"/>
                <a:gd name="T11" fmla="*/ 61 h 63"/>
                <a:gd name="T12" fmla="*/ 74 w 94"/>
                <a:gd name="T13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4" h="63">
                  <a:moveTo>
                    <a:pt x="74" y="63"/>
                  </a:moveTo>
                  <a:cubicBezTo>
                    <a:pt x="33" y="63"/>
                    <a:pt x="0" y="35"/>
                    <a:pt x="0" y="0"/>
                  </a:cubicBezTo>
                  <a:lnTo>
                    <a:pt x="17" y="0"/>
                  </a:lnTo>
                  <a:cubicBezTo>
                    <a:pt x="17" y="26"/>
                    <a:pt x="42" y="47"/>
                    <a:pt x="74" y="47"/>
                  </a:cubicBezTo>
                  <a:cubicBezTo>
                    <a:pt x="79" y="47"/>
                    <a:pt x="85" y="46"/>
                    <a:pt x="90" y="45"/>
                  </a:cubicBezTo>
                  <a:lnTo>
                    <a:pt x="94" y="61"/>
                  </a:lnTo>
                  <a:cubicBezTo>
                    <a:pt x="87" y="63"/>
                    <a:pt x="81" y="63"/>
                    <a:pt x="74" y="6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67" name="Freeform 627">
              <a:extLst>
                <a:ext uri="{FF2B5EF4-FFF2-40B4-BE49-F238E27FC236}">
                  <a16:creationId xmlns:a16="http://schemas.microsoft.com/office/drawing/2014/main" id="{CA2EF7E5-0D6B-CBAB-E0BA-891E547A5B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73951" y="4497388"/>
              <a:ext cx="58738" cy="92075"/>
            </a:xfrm>
            <a:custGeom>
              <a:avLst/>
              <a:gdLst>
                <a:gd name="T0" fmla="*/ 37 w 74"/>
                <a:gd name="T1" fmla="*/ 23 h 114"/>
                <a:gd name="T2" fmla="*/ 36 w 74"/>
                <a:gd name="T3" fmla="*/ 25 h 114"/>
                <a:gd name="T4" fmla="*/ 36 w 74"/>
                <a:gd name="T5" fmla="*/ 89 h 114"/>
                <a:gd name="T6" fmla="*/ 37 w 74"/>
                <a:gd name="T7" fmla="*/ 91 h 114"/>
                <a:gd name="T8" fmla="*/ 38 w 74"/>
                <a:gd name="T9" fmla="*/ 89 h 114"/>
                <a:gd name="T10" fmla="*/ 38 w 74"/>
                <a:gd name="T11" fmla="*/ 25 h 114"/>
                <a:gd name="T12" fmla="*/ 37 w 74"/>
                <a:gd name="T13" fmla="*/ 23 h 114"/>
                <a:gd name="T14" fmla="*/ 37 w 74"/>
                <a:gd name="T15" fmla="*/ 114 h 114"/>
                <a:gd name="T16" fmla="*/ 24 w 74"/>
                <a:gd name="T17" fmla="*/ 101 h 114"/>
                <a:gd name="T18" fmla="*/ 24 w 74"/>
                <a:gd name="T19" fmla="*/ 13 h 114"/>
                <a:gd name="T20" fmla="*/ 37 w 74"/>
                <a:gd name="T21" fmla="*/ 0 h 114"/>
                <a:gd name="T22" fmla="*/ 50 w 74"/>
                <a:gd name="T23" fmla="*/ 13 h 114"/>
                <a:gd name="T24" fmla="*/ 50 w 74"/>
                <a:gd name="T25" fmla="*/ 101 h 114"/>
                <a:gd name="T26" fmla="*/ 37 w 74"/>
                <a:gd name="T27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4" h="114">
                  <a:moveTo>
                    <a:pt x="37" y="23"/>
                  </a:moveTo>
                  <a:lnTo>
                    <a:pt x="36" y="25"/>
                  </a:lnTo>
                  <a:cubicBezTo>
                    <a:pt x="18" y="42"/>
                    <a:pt x="18" y="71"/>
                    <a:pt x="36" y="89"/>
                  </a:cubicBezTo>
                  <a:lnTo>
                    <a:pt x="37" y="91"/>
                  </a:lnTo>
                  <a:lnTo>
                    <a:pt x="38" y="89"/>
                  </a:lnTo>
                  <a:cubicBezTo>
                    <a:pt x="56" y="71"/>
                    <a:pt x="56" y="42"/>
                    <a:pt x="38" y="25"/>
                  </a:cubicBezTo>
                  <a:lnTo>
                    <a:pt x="37" y="23"/>
                  </a:lnTo>
                  <a:close/>
                  <a:moveTo>
                    <a:pt x="37" y="114"/>
                  </a:moveTo>
                  <a:lnTo>
                    <a:pt x="24" y="101"/>
                  </a:lnTo>
                  <a:cubicBezTo>
                    <a:pt x="0" y="77"/>
                    <a:pt x="0" y="37"/>
                    <a:pt x="24" y="13"/>
                  </a:cubicBezTo>
                  <a:lnTo>
                    <a:pt x="37" y="0"/>
                  </a:lnTo>
                  <a:lnTo>
                    <a:pt x="50" y="13"/>
                  </a:lnTo>
                  <a:cubicBezTo>
                    <a:pt x="74" y="37"/>
                    <a:pt x="74" y="77"/>
                    <a:pt x="50" y="101"/>
                  </a:cubicBezTo>
                  <a:lnTo>
                    <a:pt x="37" y="11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68" name="Freeform 628">
              <a:extLst>
                <a:ext uri="{FF2B5EF4-FFF2-40B4-BE49-F238E27FC236}">
                  <a16:creationId xmlns:a16="http://schemas.microsoft.com/office/drawing/2014/main" id="{EC891658-7FD5-41E9-1DF0-5A864EB6CA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96176" y="4448176"/>
              <a:ext cx="66675" cy="65088"/>
            </a:xfrm>
            <a:custGeom>
              <a:avLst/>
              <a:gdLst>
                <a:gd name="T0" fmla="*/ 16 w 81"/>
                <a:gd name="T1" fmla="*/ 64 h 81"/>
                <a:gd name="T2" fmla="*/ 18 w 81"/>
                <a:gd name="T3" fmla="*/ 64 h 81"/>
                <a:gd name="T4" fmla="*/ 64 w 81"/>
                <a:gd name="T5" fmla="*/ 19 h 81"/>
                <a:gd name="T6" fmla="*/ 64 w 81"/>
                <a:gd name="T7" fmla="*/ 17 h 81"/>
                <a:gd name="T8" fmla="*/ 62 w 81"/>
                <a:gd name="T9" fmla="*/ 17 h 81"/>
                <a:gd name="T10" fmla="*/ 16 w 81"/>
                <a:gd name="T11" fmla="*/ 62 h 81"/>
                <a:gd name="T12" fmla="*/ 16 w 81"/>
                <a:gd name="T13" fmla="*/ 64 h 81"/>
                <a:gd name="T14" fmla="*/ 18 w 81"/>
                <a:gd name="T15" fmla="*/ 81 h 81"/>
                <a:gd name="T16" fmla="*/ 0 w 81"/>
                <a:gd name="T17" fmla="*/ 81 h 81"/>
                <a:gd name="T18" fmla="*/ 0 w 81"/>
                <a:gd name="T19" fmla="*/ 62 h 81"/>
                <a:gd name="T20" fmla="*/ 62 w 81"/>
                <a:gd name="T21" fmla="*/ 0 h 81"/>
                <a:gd name="T22" fmla="*/ 81 w 81"/>
                <a:gd name="T23" fmla="*/ 0 h 81"/>
                <a:gd name="T24" fmla="*/ 81 w 81"/>
                <a:gd name="T25" fmla="*/ 19 h 81"/>
                <a:gd name="T26" fmla="*/ 18 w 81"/>
                <a:gd name="T27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1" h="81">
                  <a:moveTo>
                    <a:pt x="16" y="64"/>
                  </a:moveTo>
                  <a:lnTo>
                    <a:pt x="18" y="64"/>
                  </a:lnTo>
                  <a:cubicBezTo>
                    <a:pt x="43" y="64"/>
                    <a:pt x="64" y="44"/>
                    <a:pt x="64" y="19"/>
                  </a:cubicBezTo>
                  <a:lnTo>
                    <a:pt x="64" y="17"/>
                  </a:lnTo>
                  <a:lnTo>
                    <a:pt x="62" y="17"/>
                  </a:lnTo>
                  <a:cubicBezTo>
                    <a:pt x="37" y="17"/>
                    <a:pt x="16" y="37"/>
                    <a:pt x="16" y="62"/>
                  </a:cubicBezTo>
                  <a:lnTo>
                    <a:pt x="16" y="64"/>
                  </a:lnTo>
                  <a:close/>
                  <a:moveTo>
                    <a:pt x="18" y="81"/>
                  </a:moveTo>
                  <a:lnTo>
                    <a:pt x="0" y="81"/>
                  </a:lnTo>
                  <a:lnTo>
                    <a:pt x="0" y="62"/>
                  </a:lnTo>
                  <a:cubicBezTo>
                    <a:pt x="0" y="28"/>
                    <a:pt x="28" y="0"/>
                    <a:pt x="62" y="0"/>
                  </a:cubicBezTo>
                  <a:lnTo>
                    <a:pt x="81" y="0"/>
                  </a:lnTo>
                  <a:lnTo>
                    <a:pt x="81" y="19"/>
                  </a:lnTo>
                  <a:cubicBezTo>
                    <a:pt x="81" y="53"/>
                    <a:pt x="53" y="81"/>
                    <a:pt x="18" y="8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69" name="Rectangle 629">
              <a:extLst>
                <a:ext uri="{FF2B5EF4-FFF2-40B4-BE49-F238E27FC236}">
                  <a16:creationId xmlns:a16="http://schemas.microsoft.com/office/drawing/2014/main" id="{8617B1DA-6767-1385-066C-37297ED5F7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59651" y="4589463"/>
              <a:ext cx="41275" cy="14288"/>
            </a:xfrm>
            <a:prstGeom prst="rect">
              <a:avLst/>
            </a:pr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</p:grpSp>
      <p:grpSp>
        <p:nvGrpSpPr>
          <p:cNvPr id="16396" name="Analytics18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A65CB6AB-70E6-A13C-4885-73CE4549DC5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676900" y="2341563"/>
            <a:ext cx="582613" cy="493712"/>
            <a:chOff x="8405813" y="5819775"/>
            <a:chExt cx="828675" cy="700088"/>
          </a:xfrm>
        </p:grpSpPr>
        <p:sp>
          <p:nvSpPr>
            <p:cNvPr id="91" name="Freeform 272">
              <a:extLst>
                <a:ext uri="{FF2B5EF4-FFF2-40B4-BE49-F238E27FC236}">
                  <a16:creationId xmlns:a16="http://schemas.microsoft.com/office/drawing/2014/main" id="{E1D49D4A-2DBC-B894-0DB3-3524F86E63FB}"/>
                </a:ext>
              </a:extLst>
            </p:cNvPr>
            <p:cNvSpPr>
              <a:spLocks/>
            </p:cNvSpPr>
            <p:nvPr/>
          </p:nvSpPr>
          <p:spPr bwMode="auto">
            <a:xfrm>
              <a:off x="8796442" y="6155187"/>
              <a:ext cx="438046" cy="364676"/>
            </a:xfrm>
            <a:custGeom>
              <a:avLst/>
              <a:gdLst>
                <a:gd name="T0" fmla="*/ 584 w 584"/>
                <a:gd name="T1" fmla="*/ 486 h 486"/>
                <a:gd name="T2" fmla="*/ 584 w 584"/>
                <a:gd name="T3" fmla="*/ 303 h 486"/>
                <a:gd name="T4" fmla="*/ 365 w 584"/>
                <a:gd name="T5" fmla="*/ 41 h 486"/>
                <a:gd name="T6" fmla="*/ 202 w 584"/>
                <a:gd name="T7" fmla="*/ 130 h 486"/>
                <a:gd name="T8" fmla="*/ 105 w 584"/>
                <a:gd name="T9" fmla="*/ 9 h 486"/>
                <a:gd name="T10" fmla="*/ 0 w 584"/>
                <a:gd name="T11" fmla="*/ 0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84" h="486">
                  <a:moveTo>
                    <a:pt x="584" y="486"/>
                  </a:moveTo>
                  <a:lnTo>
                    <a:pt x="584" y="303"/>
                  </a:lnTo>
                  <a:cubicBezTo>
                    <a:pt x="584" y="142"/>
                    <a:pt x="509" y="62"/>
                    <a:pt x="365" y="41"/>
                  </a:cubicBezTo>
                  <a:lnTo>
                    <a:pt x="202" y="130"/>
                  </a:lnTo>
                  <a:lnTo>
                    <a:pt x="105" y="9"/>
                  </a:lnTo>
                  <a:lnTo>
                    <a:pt x="0" y="0"/>
                  </a:lnTo>
                </a:path>
              </a:pathLst>
            </a:custGeom>
            <a:noFill/>
            <a:ln w="19050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92" name="Oval 273">
              <a:extLst>
                <a:ext uri="{FF2B5EF4-FFF2-40B4-BE49-F238E27FC236}">
                  <a16:creationId xmlns:a16="http://schemas.microsoft.com/office/drawing/2014/main" id="{C08CD8DB-B43D-9490-2638-C67A0BA493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52891" y="5819775"/>
              <a:ext cx="313858" cy="310650"/>
            </a:xfrm>
            <a:prstGeom prst="ellipse">
              <a:avLst/>
            </a:prstGeom>
            <a:noFill/>
            <a:ln w="19050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93" name="Freeform 274">
              <a:extLst>
                <a:ext uri="{FF2B5EF4-FFF2-40B4-BE49-F238E27FC236}">
                  <a16:creationId xmlns:a16="http://schemas.microsoft.com/office/drawing/2014/main" id="{E9E41888-910D-7820-24CF-D09D4019AF41}"/>
                </a:ext>
              </a:extLst>
            </p:cNvPr>
            <p:cNvSpPr>
              <a:spLocks/>
            </p:cNvSpPr>
            <p:nvPr/>
          </p:nvSpPr>
          <p:spPr bwMode="auto">
            <a:xfrm>
              <a:off x="8405813" y="6119169"/>
              <a:ext cx="130962" cy="173335"/>
            </a:xfrm>
            <a:custGeom>
              <a:avLst/>
              <a:gdLst>
                <a:gd name="T0" fmla="*/ 98 w 174"/>
                <a:gd name="T1" fmla="*/ 3 h 230"/>
                <a:gd name="T2" fmla="*/ 174 w 174"/>
                <a:gd name="T3" fmla="*/ 123 h 230"/>
                <a:gd name="T4" fmla="*/ 79 w 174"/>
                <a:gd name="T5" fmla="*/ 229 h 230"/>
                <a:gd name="T6" fmla="*/ 56 w 174"/>
                <a:gd name="T7" fmla="*/ 230 h 230"/>
                <a:gd name="T8" fmla="*/ 15 w 174"/>
                <a:gd name="T9" fmla="*/ 211 h 230"/>
                <a:gd name="T10" fmla="*/ 1 w 174"/>
                <a:gd name="T11" fmla="*/ 112 h 230"/>
                <a:gd name="T12" fmla="*/ 55 w 174"/>
                <a:gd name="T13" fmla="*/ 3 h 230"/>
                <a:gd name="T14" fmla="*/ 98 w 174"/>
                <a:gd name="T15" fmla="*/ 3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4" h="230">
                  <a:moveTo>
                    <a:pt x="98" y="3"/>
                  </a:moveTo>
                  <a:cubicBezTo>
                    <a:pt x="139" y="14"/>
                    <a:pt x="174" y="65"/>
                    <a:pt x="174" y="123"/>
                  </a:cubicBezTo>
                  <a:cubicBezTo>
                    <a:pt x="173" y="184"/>
                    <a:pt x="131" y="224"/>
                    <a:pt x="79" y="229"/>
                  </a:cubicBezTo>
                  <a:cubicBezTo>
                    <a:pt x="70" y="230"/>
                    <a:pt x="62" y="230"/>
                    <a:pt x="56" y="230"/>
                  </a:cubicBezTo>
                  <a:cubicBezTo>
                    <a:pt x="36" y="230"/>
                    <a:pt x="25" y="226"/>
                    <a:pt x="15" y="211"/>
                  </a:cubicBezTo>
                  <a:cubicBezTo>
                    <a:pt x="0" y="189"/>
                    <a:pt x="1" y="152"/>
                    <a:pt x="1" y="112"/>
                  </a:cubicBezTo>
                  <a:cubicBezTo>
                    <a:pt x="2" y="50"/>
                    <a:pt x="1" y="13"/>
                    <a:pt x="55" y="3"/>
                  </a:cubicBezTo>
                  <a:cubicBezTo>
                    <a:pt x="62" y="1"/>
                    <a:pt x="82" y="0"/>
                    <a:pt x="98" y="3"/>
                  </a:cubicBezTo>
                  <a:close/>
                </a:path>
              </a:pathLst>
            </a:custGeom>
            <a:noFill/>
            <a:ln w="19050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94" name="Line 275">
              <a:extLst>
                <a:ext uri="{FF2B5EF4-FFF2-40B4-BE49-F238E27FC236}">
                  <a16:creationId xmlns:a16="http://schemas.microsoft.com/office/drawing/2014/main" id="{4C3EB1CF-9EED-50D5-AF47-A1A09DA1C5F9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8584193" y="6137178"/>
              <a:ext cx="0" cy="148572"/>
            </a:xfrm>
            <a:prstGeom prst="line">
              <a:avLst/>
            </a:prstGeom>
            <a:noFill/>
            <a:ln w="1905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95" name="Line 276">
              <a:extLst>
                <a:ext uri="{FF2B5EF4-FFF2-40B4-BE49-F238E27FC236}">
                  <a16:creationId xmlns:a16="http://schemas.microsoft.com/office/drawing/2014/main" id="{5D0CE875-D37D-FD7B-2E0C-D2619097B70C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8656448" y="6067395"/>
              <a:ext cx="0" cy="218355"/>
            </a:xfrm>
            <a:prstGeom prst="line">
              <a:avLst/>
            </a:prstGeom>
            <a:noFill/>
            <a:ln w="1905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96" name="Line 277">
              <a:extLst>
                <a:ext uri="{FF2B5EF4-FFF2-40B4-BE49-F238E27FC236}">
                  <a16:creationId xmlns:a16="http://schemas.microsoft.com/office/drawing/2014/main" id="{85556EE6-871F-8A3C-26F6-5C58C74EAFDA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8728703" y="6200208"/>
              <a:ext cx="0" cy="85541"/>
            </a:xfrm>
            <a:prstGeom prst="line">
              <a:avLst/>
            </a:prstGeom>
            <a:noFill/>
            <a:ln w="1905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97" name="Line 278">
              <a:extLst>
                <a:ext uri="{FF2B5EF4-FFF2-40B4-BE49-F238E27FC236}">
                  <a16:creationId xmlns:a16="http://schemas.microsoft.com/office/drawing/2014/main" id="{757767C7-11C9-EED7-5C1C-E64E4F18964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076430" y="6402806"/>
              <a:ext cx="0" cy="117057"/>
            </a:xfrm>
            <a:prstGeom prst="line">
              <a:avLst/>
            </a:prstGeom>
            <a:noFill/>
            <a:ln w="19050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98" name="Line 279">
              <a:extLst>
                <a:ext uri="{FF2B5EF4-FFF2-40B4-BE49-F238E27FC236}">
                  <a16:creationId xmlns:a16="http://schemas.microsoft.com/office/drawing/2014/main" id="{618F8433-E9D2-2224-8AAD-B9B5AB7D833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769347" y="6366789"/>
              <a:ext cx="0" cy="153074"/>
            </a:xfrm>
            <a:prstGeom prst="line">
              <a:avLst/>
            </a:prstGeom>
            <a:noFill/>
            <a:ln w="19050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99" name="Freeform 280">
              <a:extLst>
                <a:ext uri="{FF2B5EF4-FFF2-40B4-BE49-F238E27FC236}">
                  <a16:creationId xmlns:a16="http://schemas.microsoft.com/office/drawing/2014/main" id="{560FDA87-5221-4F0C-AD5C-3CF34FBE0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3552" y="5990858"/>
              <a:ext cx="322890" cy="375931"/>
            </a:xfrm>
            <a:custGeom>
              <a:avLst/>
              <a:gdLst>
                <a:gd name="T0" fmla="*/ 0 w 431"/>
                <a:gd name="T1" fmla="*/ 172 h 499"/>
                <a:gd name="T2" fmla="*/ 0 w 431"/>
                <a:gd name="T3" fmla="*/ 0 h 499"/>
                <a:gd name="T4" fmla="*/ 431 w 431"/>
                <a:gd name="T5" fmla="*/ 0 h 499"/>
                <a:gd name="T6" fmla="*/ 431 w 431"/>
                <a:gd name="T7" fmla="*/ 499 h 499"/>
                <a:gd name="T8" fmla="*/ 0 w 431"/>
                <a:gd name="T9" fmla="*/ 499 h 499"/>
                <a:gd name="T10" fmla="*/ 0 w 431"/>
                <a:gd name="T11" fmla="*/ 401 h 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31" h="499">
                  <a:moveTo>
                    <a:pt x="0" y="172"/>
                  </a:moveTo>
                  <a:lnTo>
                    <a:pt x="0" y="0"/>
                  </a:lnTo>
                  <a:lnTo>
                    <a:pt x="431" y="0"/>
                  </a:lnTo>
                  <a:lnTo>
                    <a:pt x="431" y="499"/>
                  </a:lnTo>
                  <a:lnTo>
                    <a:pt x="0" y="499"/>
                  </a:lnTo>
                  <a:lnTo>
                    <a:pt x="0" y="401"/>
                  </a:lnTo>
                </a:path>
              </a:pathLst>
            </a:custGeom>
            <a:noFill/>
            <a:ln w="19050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</p:grpSp>
      <p:grpSp>
        <p:nvGrpSpPr>
          <p:cNvPr id="100" name="Antenna5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02FFA433-CDCD-262A-54A2-99002A382484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5771116" y="3399695"/>
            <a:ext cx="511969" cy="545307"/>
            <a:chOff x="5751513" y="4175125"/>
            <a:chExt cx="682625" cy="727076"/>
          </a:xfrm>
          <a:solidFill>
            <a:schemeClr val="bg1"/>
          </a:solidFill>
        </p:grpSpPr>
        <p:sp>
          <p:nvSpPr>
            <p:cNvPr id="101" name="Freeform 94">
              <a:extLst>
                <a:ext uri="{FF2B5EF4-FFF2-40B4-BE49-F238E27FC236}">
                  <a16:creationId xmlns:a16="http://schemas.microsoft.com/office/drawing/2014/main" id="{C371E7A3-6B59-26E3-AF54-5B87291E90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95976" y="4286250"/>
              <a:ext cx="436563" cy="417513"/>
            </a:xfrm>
            <a:custGeom>
              <a:avLst/>
              <a:gdLst>
                <a:gd name="T0" fmla="*/ 304 w 319"/>
                <a:gd name="T1" fmla="*/ 251 h 304"/>
                <a:gd name="T2" fmla="*/ 304 w 319"/>
                <a:gd name="T3" fmla="*/ 251 h 304"/>
                <a:gd name="T4" fmla="*/ 194 w 319"/>
                <a:gd name="T5" fmla="*/ 304 h 304"/>
                <a:gd name="T6" fmla="*/ 114 w 319"/>
                <a:gd name="T7" fmla="*/ 284 h 304"/>
                <a:gd name="T8" fmla="*/ 122 w 319"/>
                <a:gd name="T9" fmla="*/ 269 h 304"/>
                <a:gd name="T10" fmla="*/ 299 w 319"/>
                <a:gd name="T11" fmla="*/ 246 h 304"/>
                <a:gd name="T12" fmla="*/ 73 w 319"/>
                <a:gd name="T13" fmla="*/ 20 h 304"/>
                <a:gd name="T14" fmla="*/ 49 w 319"/>
                <a:gd name="T15" fmla="*/ 195 h 304"/>
                <a:gd name="T16" fmla="*/ 34 w 319"/>
                <a:gd name="T17" fmla="*/ 202 h 304"/>
                <a:gd name="T18" fmla="*/ 66 w 319"/>
                <a:gd name="T19" fmla="*/ 4 h 304"/>
                <a:gd name="T20" fmla="*/ 80 w 319"/>
                <a:gd name="T21" fmla="*/ 4 h 304"/>
                <a:gd name="T22" fmla="*/ 318 w 319"/>
                <a:gd name="T23" fmla="*/ 242 h 304"/>
                <a:gd name="T24" fmla="*/ 319 w 319"/>
                <a:gd name="T25" fmla="*/ 247 h 304"/>
                <a:gd name="T26" fmla="*/ 316 w 319"/>
                <a:gd name="T27" fmla="*/ 254 h 304"/>
                <a:gd name="T28" fmla="*/ 194 w 319"/>
                <a:gd name="T29" fmla="*/ 304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19" h="304">
                  <a:moveTo>
                    <a:pt x="304" y="251"/>
                  </a:moveTo>
                  <a:cubicBezTo>
                    <a:pt x="304" y="251"/>
                    <a:pt x="304" y="251"/>
                    <a:pt x="304" y="251"/>
                  </a:cubicBezTo>
                  <a:close/>
                  <a:moveTo>
                    <a:pt x="194" y="304"/>
                  </a:moveTo>
                  <a:cubicBezTo>
                    <a:pt x="167" y="304"/>
                    <a:pt x="139" y="297"/>
                    <a:pt x="114" y="284"/>
                  </a:cubicBezTo>
                  <a:lnTo>
                    <a:pt x="122" y="269"/>
                  </a:lnTo>
                  <a:cubicBezTo>
                    <a:pt x="179" y="300"/>
                    <a:pt x="251" y="291"/>
                    <a:pt x="299" y="246"/>
                  </a:cubicBezTo>
                  <a:lnTo>
                    <a:pt x="73" y="20"/>
                  </a:lnTo>
                  <a:cubicBezTo>
                    <a:pt x="29" y="67"/>
                    <a:pt x="19" y="137"/>
                    <a:pt x="49" y="195"/>
                  </a:cubicBezTo>
                  <a:lnTo>
                    <a:pt x="34" y="202"/>
                  </a:lnTo>
                  <a:cubicBezTo>
                    <a:pt x="0" y="136"/>
                    <a:pt x="13" y="56"/>
                    <a:pt x="66" y="4"/>
                  </a:cubicBezTo>
                  <a:cubicBezTo>
                    <a:pt x="70" y="0"/>
                    <a:pt x="76" y="0"/>
                    <a:pt x="80" y="4"/>
                  </a:cubicBezTo>
                  <a:lnTo>
                    <a:pt x="318" y="242"/>
                  </a:lnTo>
                  <a:lnTo>
                    <a:pt x="319" y="247"/>
                  </a:lnTo>
                  <a:cubicBezTo>
                    <a:pt x="319" y="249"/>
                    <a:pt x="317" y="252"/>
                    <a:pt x="316" y="254"/>
                  </a:cubicBezTo>
                  <a:cubicBezTo>
                    <a:pt x="283" y="287"/>
                    <a:pt x="239" y="304"/>
                    <a:pt x="194" y="304"/>
                  </a:cubicBezTo>
                </a:path>
              </a:pathLst>
            </a:cu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02" name="Freeform 95">
              <a:extLst>
                <a:ext uri="{FF2B5EF4-FFF2-40B4-BE49-F238E27FC236}">
                  <a16:creationId xmlns:a16="http://schemas.microsoft.com/office/drawing/2014/main" id="{E5E5A90B-A9A2-FA7C-E381-F8C689D8E2D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22963" y="4552950"/>
              <a:ext cx="142875" cy="141288"/>
            </a:xfrm>
            <a:custGeom>
              <a:avLst/>
              <a:gdLst>
                <a:gd name="T0" fmla="*/ 53 w 105"/>
                <a:gd name="T1" fmla="*/ 17 h 104"/>
                <a:gd name="T2" fmla="*/ 17 w 105"/>
                <a:gd name="T3" fmla="*/ 52 h 104"/>
                <a:gd name="T4" fmla="*/ 53 w 105"/>
                <a:gd name="T5" fmla="*/ 88 h 104"/>
                <a:gd name="T6" fmla="*/ 88 w 105"/>
                <a:gd name="T7" fmla="*/ 52 h 104"/>
                <a:gd name="T8" fmla="*/ 53 w 105"/>
                <a:gd name="T9" fmla="*/ 17 h 104"/>
                <a:gd name="T10" fmla="*/ 53 w 105"/>
                <a:gd name="T11" fmla="*/ 104 h 104"/>
                <a:gd name="T12" fmla="*/ 0 w 105"/>
                <a:gd name="T13" fmla="*/ 52 h 104"/>
                <a:gd name="T14" fmla="*/ 53 w 105"/>
                <a:gd name="T15" fmla="*/ 0 h 104"/>
                <a:gd name="T16" fmla="*/ 105 w 105"/>
                <a:gd name="T17" fmla="*/ 52 h 104"/>
                <a:gd name="T18" fmla="*/ 53 w 105"/>
                <a:gd name="T19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5" h="104">
                  <a:moveTo>
                    <a:pt x="53" y="17"/>
                  </a:moveTo>
                  <a:cubicBezTo>
                    <a:pt x="33" y="17"/>
                    <a:pt x="17" y="33"/>
                    <a:pt x="17" y="52"/>
                  </a:cubicBezTo>
                  <a:cubicBezTo>
                    <a:pt x="17" y="72"/>
                    <a:pt x="33" y="88"/>
                    <a:pt x="53" y="88"/>
                  </a:cubicBezTo>
                  <a:cubicBezTo>
                    <a:pt x="72" y="88"/>
                    <a:pt x="88" y="72"/>
                    <a:pt x="88" y="52"/>
                  </a:cubicBezTo>
                  <a:cubicBezTo>
                    <a:pt x="88" y="33"/>
                    <a:pt x="72" y="17"/>
                    <a:pt x="53" y="17"/>
                  </a:cubicBezTo>
                  <a:close/>
                  <a:moveTo>
                    <a:pt x="53" y="104"/>
                  </a:moveTo>
                  <a:cubicBezTo>
                    <a:pt x="24" y="104"/>
                    <a:pt x="0" y="81"/>
                    <a:pt x="0" y="52"/>
                  </a:cubicBezTo>
                  <a:cubicBezTo>
                    <a:pt x="0" y="23"/>
                    <a:pt x="24" y="0"/>
                    <a:pt x="53" y="0"/>
                  </a:cubicBezTo>
                  <a:cubicBezTo>
                    <a:pt x="81" y="0"/>
                    <a:pt x="105" y="23"/>
                    <a:pt x="105" y="52"/>
                  </a:cubicBezTo>
                  <a:cubicBezTo>
                    <a:pt x="105" y="81"/>
                    <a:pt x="81" y="104"/>
                    <a:pt x="53" y="10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03" name="Freeform 96">
              <a:extLst>
                <a:ext uri="{FF2B5EF4-FFF2-40B4-BE49-F238E27FC236}">
                  <a16:creationId xmlns:a16="http://schemas.microsoft.com/office/drawing/2014/main" id="{E94518F8-4682-8186-854C-3646ECFEDD1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54713" y="4583113"/>
              <a:ext cx="79375" cy="80963"/>
            </a:xfrm>
            <a:custGeom>
              <a:avLst/>
              <a:gdLst>
                <a:gd name="T0" fmla="*/ 30 w 59"/>
                <a:gd name="T1" fmla="*/ 17 h 60"/>
                <a:gd name="T2" fmla="*/ 16 w 59"/>
                <a:gd name="T3" fmla="*/ 30 h 60"/>
                <a:gd name="T4" fmla="*/ 30 w 59"/>
                <a:gd name="T5" fmla="*/ 43 h 60"/>
                <a:gd name="T6" fmla="*/ 43 w 59"/>
                <a:gd name="T7" fmla="*/ 30 h 60"/>
                <a:gd name="T8" fmla="*/ 30 w 59"/>
                <a:gd name="T9" fmla="*/ 17 h 60"/>
                <a:gd name="T10" fmla="*/ 30 w 59"/>
                <a:gd name="T11" fmla="*/ 60 h 60"/>
                <a:gd name="T12" fmla="*/ 0 w 59"/>
                <a:gd name="T13" fmla="*/ 30 h 60"/>
                <a:gd name="T14" fmla="*/ 30 w 59"/>
                <a:gd name="T15" fmla="*/ 0 h 60"/>
                <a:gd name="T16" fmla="*/ 59 w 59"/>
                <a:gd name="T17" fmla="*/ 30 h 60"/>
                <a:gd name="T18" fmla="*/ 30 w 59"/>
                <a:gd name="T19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9" h="60">
                  <a:moveTo>
                    <a:pt x="30" y="17"/>
                  </a:moveTo>
                  <a:cubicBezTo>
                    <a:pt x="22" y="17"/>
                    <a:pt x="16" y="23"/>
                    <a:pt x="16" y="30"/>
                  </a:cubicBezTo>
                  <a:cubicBezTo>
                    <a:pt x="16" y="37"/>
                    <a:pt x="22" y="43"/>
                    <a:pt x="30" y="43"/>
                  </a:cubicBezTo>
                  <a:cubicBezTo>
                    <a:pt x="37" y="43"/>
                    <a:pt x="43" y="37"/>
                    <a:pt x="43" y="30"/>
                  </a:cubicBezTo>
                  <a:cubicBezTo>
                    <a:pt x="43" y="23"/>
                    <a:pt x="37" y="17"/>
                    <a:pt x="30" y="17"/>
                  </a:cubicBezTo>
                  <a:close/>
                  <a:moveTo>
                    <a:pt x="30" y="60"/>
                  </a:moveTo>
                  <a:cubicBezTo>
                    <a:pt x="13" y="60"/>
                    <a:pt x="0" y="47"/>
                    <a:pt x="0" y="30"/>
                  </a:cubicBezTo>
                  <a:cubicBezTo>
                    <a:pt x="0" y="14"/>
                    <a:pt x="13" y="0"/>
                    <a:pt x="30" y="0"/>
                  </a:cubicBezTo>
                  <a:cubicBezTo>
                    <a:pt x="46" y="0"/>
                    <a:pt x="59" y="14"/>
                    <a:pt x="59" y="30"/>
                  </a:cubicBezTo>
                  <a:cubicBezTo>
                    <a:pt x="59" y="47"/>
                    <a:pt x="46" y="60"/>
                    <a:pt x="30" y="6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04" name="Freeform 97">
              <a:extLst>
                <a:ext uri="{FF2B5EF4-FFF2-40B4-BE49-F238E27FC236}">
                  <a16:creationId xmlns:a16="http://schemas.microsoft.com/office/drawing/2014/main" id="{57BB4EB1-D342-B9DA-685D-EADC782C4C7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37238" y="4638675"/>
              <a:ext cx="107950" cy="109538"/>
            </a:xfrm>
            <a:custGeom>
              <a:avLst/>
              <a:gdLst>
                <a:gd name="T0" fmla="*/ 9 w 68"/>
                <a:gd name="T1" fmla="*/ 69 h 69"/>
                <a:gd name="T2" fmla="*/ 0 w 68"/>
                <a:gd name="T3" fmla="*/ 59 h 69"/>
                <a:gd name="T4" fmla="*/ 58 w 68"/>
                <a:gd name="T5" fmla="*/ 0 h 69"/>
                <a:gd name="T6" fmla="*/ 68 w 68"/>
                <a:gd name="T7" fmla="*/ 10 h 69"/>
                <a:gd name="T8" fmla="*/ 9 w 68"/>
                <a:gd name="T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8" h="69">
                  <a:moveTo>
                    <a:pt x="9" y="69"/>
                  </a:moveTo>
                  <a:lnTo>
                    <a:pt x="0" y="59"/>
                  </a:lnTo>
                  <a:lnTo>
                    <a:pt x="58" y="0"/>
                  </a:lnTo>
                  <a:lnTo>
                    <a:pt x="68" y="10"/>
                  </a:lnTo>
                  <a:lnTo>
                    <a:pt x="9" y="6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05" name="Freeform 98">
              <a:extLst>
                <a:ext uri="{FF2B5EF4-FFF2-40B4-BE49-F238E27FC236}">
                  <a16:creationId xmlns:a16="http://schemas.microsoft.com/office/drawing/2014/main" id="{A7DEAAC5-1D60-97C8-1483-123CE873F388}"/>
                </a:ext>
              </a:extLst>
            </p:cNvPr>
            <p:cNvSpPr>
              <a:spLocks/>
            </p:cNvSpPr>
            <p:nvPr/>
          </p:nvSpPr>
          <p:spPr bwMode="auto">
            <a:xfrm>
              <a:off x="5891213" y="4665663"/>
              <a:ext cx="82550" cy="82550"/>
            </a:xfrm>
            <a:custGeom>
              <a:avLst/>
              <a:gdLst>
                <a:gd name="T0" fmla="*/ 10 w 52"/>
                <a:gd name="T1" fmla="*/ 52 h 52"/>
                <a:gd name="T2" fmla="*/ 0 w 52"/>
                <a:gd name="T3" fmla="*/ 42 h 52"/>
                <a:gd name="T4" fmla="*/ 41 w 52"/>
                <a:gd name="T5" fmla="*/ 0 h 52"/>
                <a:gd name="T6" fmla="*/ 52 w 52"/>
                <a:gd name="T7" fmla="*/ 11 h 52"/>
                <a:gd name="T8" fmla="*/ 10 w 52"/>
                <a:gd name="T9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52">
                  <a:moveTo>
                    <a:pt x="10" y="52"/>
                  </a:moveTo>
                  <a:lnTo>
                    <a:pt x="0" y="42"/>
                  </a:lnTo>
                  <a:lnTo>
                    <a:pt x="41" y="0"/>
                  </a:lnTo>
                  <a:lnTo>
                    <a:pt x="52" y="11"/>
                  </a:lnTo>
                  <a:lnTo>
                    <a:pt x="10" y="5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06" name="Freeform 99">
              <a:extLst>
                <a:ext uri="{FF2B5EF4-FFF2-40B4-BE49-F238E27FC236}">
                  <a16:creationId xmlns:a16="http://schemas.microsoft.com/office/drawing/2014/main" id="{1A284D46-918A-9D5E-1DEA-299440D07EC1}"/>
                </a:ext>
              </a:extLst>
            </p:cNvPr>
            <p:cNvSpPr>
              <a:spLocks/>
            </p:cNvSpPr>
            <p:nvPr/>
          </p:nvSpPr>
          <p:spPr bwMode="auto">
            <a:xfrm>
              <a:off x="6165851" y="4418013"/>
              <a:ext cx="57150" cy="68263"/>
            </a:xfrm>
            <a:custGeom>
              <a:avLst/>
              <a:gdLst>
                <a:gd name="T0" fmla="*/ 12 w 36"/>
                <a:gd name="T1" fmla="*/ 43 h 43"/>
                <a:gd name="T2" fmla="*/ 0 w 36"/>
                <a:gd name="T3" fmla="*/ 35 h 43"/>
                <a:gd name="T4" fmla="*/ 24 w 36"/>
                <a:gd name="T5" fmla="*/ 0 h 43"/>
                <a:gd name="T6" fmla="*/ 36 w 36"/>
                <a:gd name="T7" fmla="*/ 9 h 43"/>
                <a:gd name="T8" fmla="*/ 12 w 36"/>
                <a:gd name="T9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43">
                  <a:moveTo>
                    <a:pt x="12" y="43"/>
                  </a:moveTo>
                  <a:lnTo>
                    <a:pt x="0" y="35"/>
                  </a:lnTo>
                  <a:lnTo>
                    <a:pt x="24" y="0"/>
                  </a:lnTo>
                  <a:lnTo>
                    <a:pt x="36" y="9"/>
                  </a:lnTo>
                  <a:lnTo>
                    <a:pt x="12" y="4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07" name="Freeform 100">
              <a:extLst>
                <a:ext uri="{FF2B5EF4-FFF2-40B4-BE49-F238E27FC236}">
                  <a16:creationId xmlns:a16="http://schemas.microsoft.com/office/drawing/2014/main" id="{1406A68B-9ED5-DCA2-DF9C-368A37AEAC77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0926" y="4395788"/>
              <a:ext cx="68263" cy="53975"/>
            </a:xfrm>
            <a:custGeom>
              <a:avLst/>
              <a:gdLst>
                <a:gd name="T0" fmla="*/ 7 w 43"/>
                <a:gd name="T1" fmla="*/ 34 h 34"/>
                <a:gd name="T2" fmla="*/ 0 w 43"/>
                <a:gd name="T3" fmla="*/ 22 h 34"/>
                <a:gd name="T4" fmla="*/ 36 w 43"/>
                <a:gd name="T5" fmla="*/ 0 h 34"/>
                <a:gd name="T6" fmla="*/ 43 w 43"/>
                <a:gd name="T7" fmla="*/ 12 h 34"/>
                <a:gd name="T8" fmla="*/ 7 w 43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34">
                  <a:moveTo>
                    <a:pt x="7" y="34"/>
                  </a:moveTo>
                  <a:lnTo>
                    <a:pt x="0" y="22"/>
                  </a:lnTo>
                  <a:lnTo>
                    <a:pt x="36" y="0"/>
                  </a:lnTo>
                  <a:lnTo>
                    <a:pt x="43" y="12"/>
                  </a:lnTo>
                  <a:lnTo>
                    <a:pt x="7" y="3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08" name="Freeform 101">
              <a:extLst>
                <a:ext uri="{FF2B5EF4-FFF2-40B4-BE49-F238E27FC236}">
                  <a16:creationId xmlns:a16="http://schemas.microsoft.com/office/drawing/2014/main" id="{7B4AAFBE-4D3A-C775-1782-00C449EEAF1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51513" y="4833938"/>
              <a:ext cx="620713" cy="68263"/>
            </a:xfrm>
            <a:custGeom>
              <a:avLst/>
              <a:gdLst>
                <a:gd name="T0" fmla="*/ 23 w 454"/>
                <a:gd name="T1" fmla="*/ 16 h 50"/>
                <a:gd name="T2" fmla="*/ 16 w 454"/>
                <a:gd name="T3" fmla="*/ 23 h 50"/>
                <a:gd name="T4" fmla="*/ 16 w 454"/>
                <a:gd name="T5" fmla="*/ 27 h 50"/>
                <a:gd name="T6" fmla="*/ 23 w 454"/>
                <a:gd name="T7" fmla="*/ 33 h 50"/>
                <a:gd name="T8" fmla="*/ 431 w 454"/>
                <a:gd name="T9" fmla="*/ 33 h 50"/>
                <a:gd name="T10" fmla="*/ 438 w 454"/>
                <a:gd name="T11" fmla="*/ 27 h 50"/>
                <a:gd name="T12" fmla="*/ 438 w 454"/>
                <a:gd name="T13" fmla="*/ 23 h 50"/>
                <a:gd name="T14" fmla="*/ 431 w 454"/>
                <a:gd name="T15" fmla="*/ 16 h 50"/>
                <a:gd name="T16" fmla="*/ 23 w 454"/>
                <a:gd name="T17" fmla="*/ 16 h 50"/>
                <a:gd name="T18" fmla="*/ 431 w 454"/>
                <a:gd name="T19" fmla="*/ 50 h 50"/>
                <a:gd name="T20" fmla="*/ 23 w 454"/>
                <a:gd name="T21" fmla="*/ 50 h 50"/>
                <a:gd name="T22" fmla="*/ 0 w 454"/>
                <a:gd name="T23" fmla="*/ 27 h 50"/>
                <a:gd name="T24" fmla="*/ 0 w 454"/>
                <a:gd name="T25" fmla="*/ 23 h 50"/>
                <a:gd name="T26" fmla="*/ 23 w 454"/>
                <a:gd name="T27" fmla="*/ 0 h 50"/>
                <a:gd name="T28" fmla="*/ 431 w 454"/>
                <a:gd name="T29" fmla="*/ 0 h 50"/>
                <a:gd name="T30" fmla="*/ 454 w 454"/>
                <a:gd name="T31" fmla="*/ 23 h 50"/>
                <a:gd name="T32" fmla="*/ 454 w 454"/>
                <a:gd name="T33" fmla="*/ 27 h 50"/>
                <a:gd name="T34" fmla="*/ 431 w 454"/>
                <a:gd name="T35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54" h="50">
                  <a:moveTo>
                    <a:pt x="23" y="16"/>
                  </a:moveTo>
                  <a:cubicBezTo>
                    <a:pt x="19" y="16"/>
                    <a:pt x="16" y="19"/>
                    <a:pt x="16" y="23"/>
                  </a:cubicBezTo>
                  <a:lnTo>
                    <a:pt x="16" y="27"/>
                  </a:lnTo>
                  <a:cubicBezTo>
                    <a:pt x="16" y="30"/>
                    <a:pt x="19" y="33"/>
                    <a:pt x="23" y="33"/>
                  </a:cubicBezTo>
                  <a:lnTo>
                    <a:pt x="431" y="33"/>
                  </a:lnTo>
                  <a:cubicBezTo>
                    <a:pt x="435" y="33"/>
                    <a:pt x="438" y="30"/>
                    <a:pt x="438" y="27"/>
                  </a:cubicBezTo>
                  <a:lnTo>
                    <a:pt x="438" y="23"/>
                  </a:lnTo>
                  <a:cubicBezTo>
                    <a:pt x="438" y="19"/>
                    <a:pt x="435" y="16"/>
                    <a:pt x="431" y="16"/>
                  </a:cubicBezTo>
                  <a:lnTo>
                    <a:pt x="23" y="16"/>
                  </a:lnTo>
                  <a:close/>
                  <a:moveTo>
                    <a:pt x="431" y="50"/>
                  </a:moveTo>
                  <a:lnTo>
                    <a:pt x="23" y="50"/>
                  </a:lnTo>
                  <a:cubicBezTo>
                    <a:pt x="10" y="50"/>
                    <a:pt x="0" y="40"/>
                    <a:pt x="0" y="27"/>
                  </a:cubicBezTo>
                  <a:lnTo>
                    <a:pt x="0" y="23"/>
                  </a:lnTo>
                  <a:cubicBezTo>
                    <a:pt x="0" y="10"/>
                    <a:pt x="10" y="0"/>
                    <a:pt x="23" y="0"/>
                  </a:cubicBezTo>
                  <a:lnTo>
                    <a:pt x="431" y="0"/>
                  </a:lnTo>
                  <a:cubicBezTo>
                    <a:pt x="444" y="0"/>
                    <a:pt x="454" y="10"/>
                    <a:pt x="454" y="23"/>
                  </a:cubicBezTo>
                  <a:lnTo>
                    <a:pt x="454" y="27"/>
                  </a:lnTo>
                  <a:cubicBezTo>
                    <a:pt x="454" y="40"/>
                    <a:pt x="444" y="50"/>
                    <a:pt x="431" y="5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09" name="Freeform 102">
              <a:extLst>
                <a:ext uri="{FF2B5EF4-FFF2-40B4-BE49-F238E27FC236}">
                  <a16:creationId xmlns:a16="http://schemas.microsoft.com/office/drawing/2014/main" id="{087DDA04-8A14-5D86-04D8-17052ADA83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86438" y="4727575"/>
              <a:ext cx="195263" cy="127000"/>
            </a:xfrm>
            <a:custGeom>
              <a:avLst/>
              <a:gdLst>
                <a:gd name="T0" fmla="*/ 17 w 143"/>
                <a:gd name="T1" fmla="*/ 77 h 93"/>
                <a:gd name="T2" fmla="*/ 127 w 143"/>
                <a:gd name="T3" fmla="*/ 77 h 93"/>
                <a:gd name="T4" fmla="*/ 127 w 143"/>
                <a:gd name="T5" fmla="*/ 38 h 93"/>
                <a:gd name="T6" fmla="*/ 106 w 143"/>
                <a:gd name="T7" fmla="*/ 17 h 93"/>
                <a:gd name="T8" fmla="*/ 38 w 143"/>
                <a:gd name="T9" fmla="*/ 17 h 93"/>
                <a:gd name="T10" fmla="*/ 17 w 143"/>
                <a:gd name="T11" fmla="*/ 38 h 93"/>
                <a:gd name="T12" fmla="*/ 17 w 143"/>
                <a:gd name="T13" fmla="*/ 77 h 93"/>
                <a:gd name="T14" fmla="*/ 143 w 143"/>
                <a:gd name="T15" fmla="*/ 93 h 93"/>
                <a:gd name="T16" fmla="*/ 0 w 143"/>
                <a:gd name="T17" fmla="*/ 93 h 93"/>
                <a:gd name="T18" fmla="*/ 0 w 143"/>
                <a:gd name="T19" fmla="*/ 38 h 93"/>
                <a:gd name="T20" fmla="*/ 38 w 143"/>
                <a:gd name="T21" fmla="*/ 0 h 93"/>
                <a:gd name="T22" fmla="*/ 106 w 143"/>
                <a:gd name="T23" fmla="*/ 0 h 93"/>
                <a:gd name="T24" fmla="*/ 143 w 143"/>
                <a:gd name="T25" fmla="*/ 38 h 93"/>
                <a:gd name="T26" fmla="*/ 143 w 143"/>
                <a:gd name="T27" fmla="*/ 9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3" h="93">
                  <a:moveTo>
                    <a:pt x="17" y="77"/>
                  </a:moveTo>
                  <a:lnTo>
                    <a:pt x="127" y="77"/>
                  </a:lnTo>
                  <a:lnTo>
                    <a:pt x="127" y="38"/>
                  </a:lnTo>
                  <a:cubicBezTo>
                    <a:pt x="127" y="26"/>
                    <a:pt x="117" y="17"/>
                    <a:pt x="106" y="17"/>
                  </a:cubicBezTo>
                  <a:lnTo>
                    <a:pt x="38" y="17"/>
                  </a:lnTo>
                  <a:cubicBezTo>
                    <a:pt x="26" y="17"/>
                    <a:pt x="17" y="26"/>
                    <a:pt x="17" y="38"/>
                  </a:cubicBezTo>
                  <a:lnTo>
                    <a:pt x="17" y="77"/>
                  </a:lnTo>
                  <a:close/>
                  <a:moveTo>
                    <a:pt x="143" y="93"/>
                  </a:moveTo>
                  <a:lnTo>
                    <a:pt x="0" y="93"/>
                  </a:lnTo>
                  <a:lnTo>
                    <a:pt x="0" y="38"/>
                  </a:lnTo>
                  <a:cubicBezTo>
                    <a:pt x="0" y="17"/>
                    <a:pt x="17" y="0"/>
                    <a:pt x="38" y="0"/>
                  </a:cubicBezTo>
                  <a:lnTo>
                    <a:pt x="106" y="0"/>
                  </a:lnTo>
                  <a:cubicBezTo>
                    <a:pt x="126" y="0"/>
                    <a:pt x="143" y="17"/>
                    <a:pt x="143" y="38"/>
                  </a:cubicBezTo>
                  <a:lnTo>
                    <a:pt x="143" y="93"/>
                  </a:lnTo>
                </a:path>
              </a:pathLst>
            </a:cu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10" name="Freeform 103">
              <a:extLst>
                <a:ext uri="{FF2B5EF4-FFF2-40B4-BE49-F238E27FC236}">
                  <a16:creationId xmlns:a16="http://schemas.microsoft.com/office/drawing/2014/main" id="{7E2813D0-FF69-7188-7C9F-0A53696C58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80138" y="4351338"/>
              <a:ext cx="84138" cy="84138"/>
            </a:xfrm>
            <a:custGeom>
              <a:avLst/>
              <a:gdLst>
                <a:gd name="T0" fmla="*/ 31 w 62"/>
                <a:gd name="T1" fmla="*/ 17 h 62"/>
                <a:gd name="T2" fmla="*/ 17 w 62"/>
                <a:gd name="T3" fmla="*/ 31 h 62"/>
                <a:gd name="T4" fmla="*/ 31 w 62"/>
                <a:gd name="T5" fmla="*/ 45 h 62"/>
                <a:gd name="T6" fmla="*/ 45 w 62"/>
                <a:gd name="T7" fmla="*/ 31 h 62"/>
                <a:gd name="T8" fmla="*/ 31 w 62"/>
                <a:gd name="T9" fmla="*/ 17 h 62"/>
                <a:gd name="T10" fmla="*/ 31 w 62"/>
                <a:gd name="T11" fmla="*/ 62 h 62"/>
                <a:gd name="T12" fmla="*/ 0 w 62"/>
                <a:gd name="T13" fmla="*/ 31 h 62"/>
                <a:gd name="T14" fmla="*/ 31 w 62"/>
                <a:gd name="T15" fmla="*/ 0 h 62"/>
                <a:gd name="T16" fmla="*/ 62 w 62"/>
                <a:gd name="T17" fmla="*/ 31 h 62"/>
                <a:gd name="T18" fmla="*/ 31 w 62"/>
                <a:gd name="T19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2" h="62">
                  <a:moveTo>
                    <a:pt x="31" y="17"/>
                  </a:moveTo>
                  <a:cubicBezTo>
                    <a:pt x="23" y="17"/>
                    <a:pt x="17" y="23"/>
                    <a:pt x="17" y="31"/>
                  </a:cubicBezTo>
                  <a:cubicBezTo>
                    <a:pt x="17" y="39"/>
                    <a:pt x="23" y="45"/>
                    <a:pt x="31" y="45"/>
                  </a:cubicBezTo>
                  <a:cubicBezTo>
                    <a:pt x="39" y="45"/>
                    <a:pt x="45" y="39"/>
                    <a:pt x="45" y="31"/>
                  </a:cubicBezTo>
                  <a:cubicBezTo>
                    <a:pt x="45" y="23"/>
                    <a:pt x="39" y="17"/>
                    <a:pt x="31" y="17"/>
                  </a:cubicBezTo>
                  <a:close/>
                  <a:moveTo>
                    <a:pt x="31" y="62"/>
                  </a:moveTo>
                  <a:cubicBezTo>
                    <a:pt x="14" y="62"/>
                    <a:pt x="0" y="48"/>
                    <a:pt x="0" y="31"/>
                  </a:cubicBezTo>
                  <a:cubicBezTo>
                    <a:pt x="0" y="14"/>
                    <a:pt x="14" y="0"/>
                    <a:pt x="31" y="0"/>
                  </a:cubicBezTo>
                  <a:cubicBezTo>
                    <a:pt x="48" y="0"/>
                    <a:pt x="62" y="14"/>
                    <a:pt x="62" y="31"/>
                  </a:cubicBezTo>
                  <a:cubicBezTo>
                    <a:pt x="62" y="48"/>
                    <a:pt x="48" y="62"/>
                    <a:pt x="31" y="6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11" name="Freeform 104">
              <a:extLst>
                <a:ext uri="{FF2B5EF4-FFF2-40B4-BE49-F238E27FC236}">
                  <a16:creationId xmlns:a16="http://schemas.microsoft.com/office/drawing/2014/main" id="{80225914-5F4D-332C-7C58-F9625D3E58AB}"/>
                </a:ext>
              </a:extLst>
            </p:cNvPr>
            <p:cNvSpPr>
              <a:spLocks/>
            </p:cNvSpPr>
            <p:nvPr/>
          </p:nvSpPr>
          <p:spPr bwMode="auto">
            <a:xfrm>
              <a:off x="6213476" y="4292600"/>
              <a:ext cx="103188" cy="103188"/>
            </a:xfrm>
            <a:custGeom>
              <a:avLst/>
              <a:gdLst>
                <a:gd name="T0" fmla="*/ 70 w 75"/>
                <a:gd name="T1" fmla="*/ 75 h 75"/>
                <a:gd name="T2" fmla="*/ 54 w 75"/>
                <a:gd name="T3" fmla="*/ 71 h 75"/>
                <a:gd name="T4" fmla="*/ 43 w 75"/>
                <a:gd name="T5" fmla="*/ 32 h 75"/>
                <a:gd name="T6" fmla="*/ 4 w 75"/>
                <a:gd name="T7" fmla="*/ 21 h 75"/>
                <a:gd name="T8" fmla="*/ 0 w 75"/>
                <a:gd name="T9" fmla="*/ 5 h 75"/>
                <a:gd name="T10" fmla="*/ 55 w 75"/>
                <a:gd name="T11" fmla="*/ 20 h 75"/>
                <a:gd name="T12" fmla="*/ 70 w 75"/>
                <a:gd name="T13" fmla="*/ 7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75">
                  <a:moveTo>
                    <a:pt x="70" y="75"/>
                  </a:moveTo>
                  <a:lnTo>
                    <a:pt x="54" y="71"/>
                  </a:lnTo>
                  <a:cubicBezTo>
                    <a:pt x="58" y="57"/>
                    <a:pt x="53" y="42"/>
                    <a:pt x="43" y="32"/>
                  </a:cubicBezTo>
                  <a:cubicBezTo>
                    <a:pt x="33" y="22"/>
                    <a:pt x="18" y="18"/>
                    <a:pt x="4" y="21"/>
                  </a:cubicBezTo>
                  <a:lnTo>
                    <a:pt x="0" y="5"/>
                  </a:lnTo>
                  <a:cubicBezTo>
                    <a:pt x="20" y="0"/>
                    <a:pt x="40" y="6"/>
                    <a:pt x="55" y="20"/>
                  </a:cubicBezTo>
                  <a:cubicBezTo>
                    <a:pt x="69" y="35"/>
                    <a:pt x="75" y="55"/>
                    <a:pt x="70" y="75"/>
                  </a:cubicBezTo>
                </a:path>
              </a:pathLst>
            </a:cu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12" name="Freeform 105">
              <a:extLst>
                <a:ext uri="{FF2B5EF4-FFF2-40B4-BE49-F238E27FC236}">
                  <a16:creationId xmlns:a16="http://schemas.microsoft.com/office/drawing/2014/main" id="{96772412-7911-C9E3-DAE3-7FC673991F10}"/>
                </a:ext>
              </a:extLst>
            </p:cNvPr>
            <p:cNvSpPr>
              <a:spLocks/>
            </p:cNvSpPr>
            <p:nvPr/>
          </p:nvSpPr>
          <p:spPr bwMode="auto">
            <a:xfrm>
              <a:off x="6208713" y="4232275"/>
              <a:ext cx="168275" cy="169863"/>
            </a:xfrm>
            <a:custGeom>
              <a:avLst/>
              <a:gdLst>
                <a:gd name="T0" fmla="*/ 119 w 123"/>
                <a:gd name="T1" fmla="*/ 124 h 124"/>
                <a:gd name="T2" fmla="*/ 103 w 123"/>
                <a:gd name="T3" fmla="*/ 122 h 124"/>
                <a:gd name="T4" fmla="*/ 76 w 123"/>
                <a:gd name="T5" fmla="*/ 47 h 124"/>
                <a:gd name="T6" fmla="*/ 1 w 123"/>
                <a:gd name="T7" fmla="*/ 21 h 124"/>
                <a:gd name="T8" fmla="*/ 0 w 123"/>
                <a:gd name="T9" fmla="*/ 4 h 124"/>
                <a:gd name="T10" fmla="*/ 88 w 123"/>
                <a:gd name="T11" fmla="*/ 35 h 124"/>
                <a:gd name="T12" fmla="*/ 119 w 123"/>
                <a:gd name="T13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3" h="124">
                  <a:moveTo>
                    <a:pt x="119" y="124"/>
                  </a:moveTo>
                  <a:lnTo>
                    <a:pt x="103" y="122"/>
                  </a:lnTo>
                  <a:cubicBezTo>
                    <a:pt x="106" y="94"/>
                    <a:pt x="96" y="67"/>
                    <a:pt x="76" y="47"/>
                  </a:cubicBezTo>
                  <a:cubicBezTo>
                    <a:pt x="56" y="27"/>
                    <a:pt x="29" y="18"/>
                    <a:pt x="1" y="21"/>
                  </a:cubicBezTo>
                  <a:lnTo>
                    <a:pt x="0" y="4"/>
                  </a:lnTo>
                  <a:cubicBezTo>
                    <a:pt x="32" y="0"/>
                    <a:pt x="65" y="12"/>
                    <a:pt x="88" y="35"/>
                  </a:cubicBezTo>
                  <a:cubicBezTo>
                    <a:pt x="111" y="59"/>
                    <a:pt x="123" y="91"/>
                    <a:pt x="119" y="12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13" name="Freeform 106">
              <a:extLst>
                <a:ext uri="{FF2B5EF4-FFF2-40B4-BE49-F238E27FC236}">
                  <a16:creationId xmlns:a16="http://schemas.microsoft.com/office/drawing/2014/main" id="{A8AC05F6-D0AE-DD20-AE1D-9D8C9B03358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9188" y="4175125"/>
              <a:ext cx="234950" cy="234950"/>
            </a:xfrm>
            <a:custGeom>
              <a:avLst/>
              <a:gdLst>
                <a:gd name="T0" fmla="*/ 169 w 172"/>
                <a:gd name="T1" fmla="*/ 172 h 172"/>
                <a:gd name="T2" fmla="*/ 152 w 172"/>
                <a:gd name="T3" fmla="*/ 171 h 172"/>
                <a:gd name="T4" fmla="*/ 111 w 172"/>
                <a:gd name="T5" fmla="*/ 61 h 172"/>
                <a:gd name="T6" fmla="*/ 1 w 172"/>
                <a:gd name="T7" fmla="*/ 20 h 172"/>
                <a:gd name="T8" fmla="*/ 0 w 172"/>
                <a:gd name="T9" fmla="*/ 3 h 172"/>
                <a:gd name="T10" fmla="*/ 123 w 172"/>
                <a:gd name="T11" fmla="*/ 49 h 172"/>
                <a:gd name="T12" fmla="*/ 169 w 172"/>
                <a:gd name="T1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2" h="172">
                  <a:moveTo>
                    <a:pt x="169" y="172"/>
                  </a:moveTo>
                  <a:lnTo>
                    <a:pt x="152" y="171"/>
                  </a:lnTo>
                  <a:cubicBezTo>
                    <a:pt x="155" y="130"/>
                    <a:pt x="140" y="90"/>
                    <a:pt x="111" y="61"/>
                  </a:cubicBezTo>
                  <a:cubicBezTo>
                    <a:pt x="82" y="32"/>
                    <a:pt x="42" y="17"/>
                    <a:pt x="1" y="20"/>
                  </a:cubicBezTo>
                  <a:lnTo>
                    <a:pt x="0" y="3"/>
                  </a:lnTo>
                  <a:cubicBezTo>
                    <a:pt x="46" y="0"/>
                    <a:pt x="91" y="17"/>
                    <a:pt x="123" y="49"/>
                  </a:cubicBezTo>
                  <a:cubicBezTo>
                    <a:pt x="155" y="82"/>
                    <a:pt x="172" y="126"/>
                    <a:pt x="169" y="172"/>
                  </a:cubicBezTo>
                </a:path>
              </a:pathLst>
            </a:cu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</p:grpSp>
      <p:grpSp>
        <p:nvGrpSpPr>
          <p:cNvPr id="114" name="Automation9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5EEDE88F-8FA0-ECF9-F71D-7415B3642B38}"/>
              </a:ext>
            </a:extLst>
          </p:cNvPr>
          <p:cNvGrpSpPr>
            <a:grpSpLocks noChangeAspect="1"/>
          </p:cNvGrpSpPr>
          <p:nvPr/>
        </p:nvGrpSpPr>
        <p:grpSpPr>
          <a:xfrm>
            <a:off x="5750512" y="4425084"/>
            <a:ext cx="548748" cy="596173"/>
            <a:chOff x="7217200" y="2973718"/>
            <a:chExt cx="2056129" cy="2233827"/>
          </a:xfrm>
          <a:solidFill>
            <a:schemeClr val="bg1"/>
          </a:solidFill>
        </p:grpSpPr>
        <p:sp>
          <p:nvSpPr>
            <p:cNvPr id="115" name="Freeform 707">
              <a:extLst>
                <a:ext uri="{FF2B5EF4-FFF2-40B4-BE49-F238E27FC236}">
                  <a16:creationId xmlns:a16="http://schemas.microsoft.com/office/drawing/2014/main" id="{C3B90A2D-7CEE-6D7A-7FDA-0711FEEE041C}"/>
                </a:ext>
              </a:extLst>
            </p:cNvPr>
            <p:cNvSpPr>
              <a:spLocks/>
            </p:cNvSpPr>
            <p:nvPr/>
          </p:nvSpPr>
          <p:spPr bwMode="auto">
            <a:xfrm>
              <a:off x="7267969" y="4611010"/>
              <a:ext cx="672688" cy="596535"/>
            </a:xfrm>
            <a:custGeom>
              <a:avLst/>
              <a:gdLst>
                <a:gd name="T0" fmla="*/ 2 w 53"/>
                <a:gd name="T1" fmla="*/ 2 h 47"/>
                <a:gd name="T2" fmla="*/ 2 w 53"/>
                <a:gd name="T3" fmla="*/ 4 h 47"/>
                <a:gd name="T4" fmla="*/ 49 w 53"/>
                <a:gd name="T5" fmla="*/ 4 h 47"/>
                <a:gd name="T6" fmla="*/ 49 w 53"/>
                <a:gd name="T7" fmla="*/ 42 h 47"/>
                <a:gd name="T8" fmla="*/ 4 w 53"/>
                <a:gd name="T9" fmla="*/ 42 h 47"/>
                <a:gd name="T10" fmla="*/ 4 w 53"/>
                <a:gd name="T11" fmla="*/ 2 h 47"/>
                <a:gd name="T12" fmla="*/ 2 w 53"/>
                <a:gd name="T13" fmla="*/ 2 h 47"/>
                <a:gd name="T14" fmla="*/ 2 w 53"/>
                <a:gd name="T15" fmla="*/ 4 h 47"/>
                <a:gd name="T16" fmla="*/ 2 w 53"/>
                <a:gd name="T17" fmla="*/ 2 h 47"/>
                <a:gd name="T18" fmla="*/ 0 w 53"/>
                <a:gd name="T19" fmla="*/ 2 h 47"/>
                <a:gd name="T20" fmla="*/ 0 w 53"/>
                <a:gd name="T21" fmla="*/ 47 h 47"/>
                <a:gd name="T22" fmla="*/ 53 w 53"/>
                <a:gd name="T23" fmla="*/ 47 h 47"/>
                <a:gd name="T24" fmla="*/ 53 w 53"/>
                <a:gd name="T25" fmla="*/ 0 h 47"/>
                <a:gd name="T26" fmla="*/ 0 w 53"/>
                <a:gd name="T27" fmla="*/ 0 h 47"/>
                <a:gd name="T28" fmla="*/ 0 w 53"/>
                <a:gd name="T29" fmla="*/ 2 h 47"/>
                <a:gd name="T30" fmla="*/ 2 w 53"/>
                <a:gd name="T31" fmla="*/ 2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3" h="47">
                  <a:moveTo>
                    <a:pt x="2" y="2"/>
                  </a:moveTo>
                  <a:lnTo>
                    <a:pt x="2" y="4"/>
                  </a:lnTo>
                  <a:lnTo>
                    <a:pt x="49" y="4"/>
                  </a:lnTo>
                  <a:lnTo>
                    <a:pt x="49" y="42"/>
                  </a:lnTo>
                  <a:lnTo>
                    <a:pt x="4" y="42"/>
                  </a:lnTo>
                  <a:lnTo>
                    <a:pt x="4" y="2"/>
                  </a:lnTo>
                  <a:lnTo>
                    <a:pt x="2" y="2"/>
                  </a:lnTo>
                  <a:lnTo>
                    <a:pt x="2" y="4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47"/>
                  </a:lnTo>
                  <a:lnTo>
                    <a:pt x="53" y="47"/>
                  </a:lnTo>
                  <a:lnTo>
                    <a:pt x="53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2" y="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16" name="Freeform 708">
              <a:extLst>
                <a:ext uri="{FF2B5EF4-FFF2-40B4-BE49-F238E27FC236}">
                  <a16:creationId xmlns:a16="http://schemas.microsoft.com/office/drawing/2014/main" id="{74FF92E1-833D-B9F8-C940-3B930C45DCC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85268" y="3202177"/>
              <a:ext cx="799610" cy="698072"/>
            </a:xfrm>
            <a:custGeom>
              <a:avLst/>
              <a:gdLst>
                <a:gd name="T0" fmla="*/ 457 w 490"/>
                <a:gd name="T1" fmla="*/ 131 h 431"/>
                <a:gd name="T2" fmla="*/ 446 w 490"/>
                <a:gd name="T3" fmla="*/ 118 h 431"/>
                <a:gd name="T4" fmla="*/ 99 w 490"/>
                <a:gd name="T5" fmla="*/ 394 h 431"/>
                <a:gd name="T6" fmla="*/ 89 w 490"/>
                <a:gd name="T7" fmla="*/ 398 h 431"/>
                <a:gd name="T8" fmla="*/ 77 w 490"/>
                <a:gd name="T9" fmla="*/ 392 h 431"/>
                <a:gd name="T10" fmla="*/ 37 w 490"/>
                <a:gd name="T11" fmla="*/ 342 h 431"/>
                <a:gd name="T12" fmla="*/ 34 w 490"/>
                <a:gd name="T13" fmla="*/ 332 h 431"/>
                <a:gd name="T14" fmla="*/ 40 w 490"/>
                <a:gd name="T15" fmla="*/ 320 h 431"/>
                <a:gd name="T16" fmla="*/ 40 w 490"/>
                <a:gd name="T17" fmla="*/ 320 h 431"/>
                <a:gd name="T18" fmla="*/ 387 w 490"/>
                <a:gd name="T19" fmla="*/ 44 h 431"/>
                <a:gd name="T20" fmla="*/ 376 w 490"/>
                <a:gd name="T21" fmla="*/ 30 h 431"/>
                <a:gd name="T22" fmla="*/ 360 w 490"/>
                <a:gd name="T23" fmla="*/ 33 h 431"/>
                <a:gd name="T24" fmla="*/ 450 w 490"/>
                <a:gd name="T25" fmla="*/ 147 h 431"/>
                <a:gd name="T26" fmla="*/ 457 w 490"/>
                <a:gd name="T27" fmla="*/ 131 h 431"/>
                <a:gd name="T28" fmla="*/ 446 w 490"/>
                <a:gd name="T29" fmla="*/ 118 h 431"/>
                <a:gd name="T30" fmla="*/ 457 w 490"/>
                <a:gd name="T31" fmla="*/ 131 h 431"/>
                <a:gd name="T32" fmla="*/ 463 w 490"/>
                <a:gd name="T33" fmla="*/ 116 h 431"/>
                <a:gd name="T34" fmla="*/ 393 w 490"/>
                <a:gd name="T35" fmla="*/ 28 h 431"/>
                <a:gd name="T36" fmla="*/ 388 w 490"/>
                <a:gd name="T37" fmla="*/ 0 h 431"/>
                <a:gd name="T38" fmla="*/ 19 w 490"/>
                <a:gd name="T39" fmla="*/ 294 h 431"/>
                <a:gd name="T40" fmla="*/ 19 w 490"/>
                <a:gd name="T41" fmla="*/ 294 h 431"/>
                <a:gd name="T42" fmla="*/ 0 w 490"/>
                <a:gd name="T43" fmla="*/ 332 h 431"/>
                <a:gd name="T44" fmla="*/ 11 w 490"/>
                <a:gd name="T45" fmla="*/ 362 h 431"/>
                <a:gd name="T46" fmla="*/ 51 w 490"/>
                <a:gd name="T47" fmla="*/ 413 h 431"/>
                <a:gd name="T48" fmla="*/ 89 w 490"/>
                <a:gd name="T49" fmla="*/ 431 h 431"/>
                <a:gd name="T50" fmla="*/ 120 w 490"/>
                <a:gd name="T51" fmla="*/ 421 h 431"/>
                <a:gd name="T52" fmla="*/ 490 w 490"/>
                <a:gd name="T53" fmla="*/ 126 h 431"/>
                <a:gd name="T54" fmla="*/ 463 w 490"/>
                <a:gd name="T55" fmla="*/ 116 h 431"/>
                <a:gd name="T56" fmla="*/ 457 w 490"/>
                <a:gd name="T57" fmla="*/ 131 h 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90" h="431">
                  <a:moveTo>
                    <a:pt x="457" y="131"/>
                  </a:moveTo>
                  <a:lnTo>
                    <a:pt x="446" y="118"/>
                  </a:lnTo>
                  <a:lnTo>
                    <a:pt x="99" y="394"/>
                  </a:lnTo>
                  <a:cubicBezTo>
                    <a:pt x="96" y="397"/>
                    <a:pt x="93" y="398"/>
                    <a:pt x="89" y="398"/>
                  </a:cubicBezTo>
                  <a:cubicBezTo>
                    <a:pt x="85" y="398"/>
                    <a:pt x="80" y="396"/>
                    <a:pt x="77" y="392"/>
                  </a:cubicBezTo>
                  <a:lnTo>
                    <a:pt x="37" y="342"/>
                  </a:lnTo>
                  <a:cubicBezTo>
                    <a:pt x="35" y="339"/>
                    <a:pt x="34" y="335"/>
                    <a:pt x="34" y="332"/>
                  </a:cubicBezTo>
                  <a:cubicBezTo>
                    <a:pt x="34" y="327"/>
                    <a:pt x="36" y="323"/>
                    <a:pt x="40" y="320"/>
                  </a:cubicBezTo>
                  <a:lnTo>
                    <a:pt x="40" y="320"/>
                  </a:lnTo>
                  <a:lnTo>
                    <a:pt x="387" y="44"/>
                  </a:lnTo>
                  <a:lnTo>
                    <a:pt x="376" y="30"/>
                  </a:lnTo>
                  <a:lnTo>
                    <a:pt x="360" y="33"/>
                  </a:lnTo>
                  <a:cubicBezTo>
                    <a:pt x="368" y="85"/>
                    <a:pt x="403" y="128"/>
                    <a:pt x="450" y="147"/>
                  </a:cubicBezTo>
                  <a:lnTo>
                    <a:pt x="457" y="131"/>
                  </a:lnTo>
                  <a:lnTo>
                    <a:pt x="446" y="118"/>
                  </a:lnTo>
                  <a:lnTo>
                    <a:pt x="457" y="131"/>
                  </a:lnTo>
                  <a:lnTo>
                    <a:pt x="463" y="116"/>
                  </a:lnTo>
                  <a:cubicBezTo>
                    <a:pt x="426" y="101"/>
                    <a:pt x="399" y="68"/>
                    <a:pt x="393" y="28"/>
                  </a:cubicBezTo>
                  <a:lnTo>
                    <a:pt x="388" y="0"/>
                  </a:lnTo>
                  <a:lnTo>
                    <a:pt x="19" y="294"/>
                  </a:lnTo>
                  <a:lnTo>
                    <a:pt x="19" y="294"/>
                  </a:lnTo>
                  <a:cubicBezTo>
                    <a:pt x="7" y="303"/>
                    <a:pt x="0" y="318"/>
                    <a:pt x="0" y="332"/>
                  </a:cubicBezTo>
                  <a:cubicBezTo>
                    <a:pt x="0" y="343"/>
                    <a:pt x="4" y="353"/>
                    <a:pt x="11" y="362"/>
                  </a:cubicBezTo>
                  <a:lnTo>
                    <a:pt x="51" y="413"/>
                  </a:lnTo>
                  <a:cubicBezTo>
                    <a:pt x="61" y="425"/>
                    <a:pt x="75" y="431"/>
                    <a:pt x="89" y="431"/>
                  </a:cubicBezTo>
                  <a:cubicBezTo>
                    <a:pt x="100" y="431"/>
                    <a:pt x="111" y="428"/>
                    <a:pt x="120" y="421"/>
                  </a:cubicBezTo>
                  <a:lnTo>
                    <a:pt x="490" y="126"/>
                  </a:lnTo>
                  <a:lnTo>
                    <a:pt x="463" y="116"/>
                  </a:lnTo>
                  <a:lnTo>
                    <a:pt x="457" y="131"/>
                  </a:lnTo>
                </a:path>
              </a:pathLst>
            </a:cu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17" name="Freeform 709">
              <a:extLst>
                <a:ext uri="{FF2B5EF4-FFF2-40B4-BE49-F238E27FC236}">
                  <a16:creationId xmlns:a16="http://schemas.microsoft.com/office/drawing/2014/main" id="{12CB1708-9ABC-457E-B845-D0D22837807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10263" y="3214873"/>
              <a:ext cx="456918" cy="456918"/>
            </a:xfrm>
            <a:custGeom>
              <a:avLst/>
              <a:gdLst>
                <a:gd name="T0" fmla="*/ 245 w 277"/>
                <a:gd name="T1" fmla="*/ 153 h 276"/>
                <a:gd name="T2" fmla="*/ 241 w 277"/>
                <a:gd name="T3" fmla="*/ 137 h 276"/>
                <a:gd name="T4" fmla="*/ 138 w 277"/>
                <a:gd name="T5" fmla="*/ 240 h 276"/>
                <a:gd name="T6" fmla="*/ 154 w 277"/>
                <a:gd name="T7" fmla="*/ 244 h 276"/>
                <a:gd name="T8" fmla="*/ 166 w 277"/>
                <a:gd name="T9" fmla="*/ 232 h 276"/>
                <a:gd name="T10" fmla="*/ 44 w 277"/>
                <a:gd name="T11" fmla="*/ 111 h 276"/>
                <a:gd name="T12" fmla="*/ 32 w 277"/>
                <a:gd name="T13" fmla="*/ 123 h 276"/>
                <a:gd name="T14" fmla="*/ 37 w 277"/>
                <a:gd name="T15" fmla="*/ 139 h 276"/>
                <a:gd name="T16" fmla="*/ 140 w 277"/>
                <a:gd name="T17" fmla="*/ 36 h 276"/>
                <a:gd name="T18" fmla="*/ 123 w 277"/>
                <a:gd name="T19" fmla="*/ 32 h 276"/>
                <a:gd name="T20" fmla="*/ 112 w 277"/>
                <a:gd name="T21" fmla="*/ 43 h 276"/>
                <a:gd name="T22" fmla="*/ 233 w 277"/>
                <a:gd name="T23" fmla="*/ 165 h 276"/>
                <a:gd name="T24" fmla="*/ 245 w 277"/>
                <a:gd name="T25" fmla="*/ 153 h 276"/>
                <a:gd name="T26" fmla="*/ 241 w 277"/>
                <a:gd name="T27" fmla="*/ 137 h 276"/>
                <a:gd name="T28" fmla="*/ 245 w 277"/>
                <a:gd name="T29" fmla="*/ 153 h 276"/>
                <a:gd name="T30" fmla="*/ 257 w 277"/>
                <a:gd name="T31" fmla="*/ 141 h 276"/>
                <a:gd name="T32" fmla="*/ 115 w 277"/>
                <a:gd name="T33" fmla="*/ 0 h 276"/>
                <a:gd name="T34" fmla="*/ 107 w 277"/>
                <a:gd name="T35" fmla="*/ 27 h 276"/>
                <a:gd name="T36" fmla="*/ 28 w 277"/>
                <a:gd name="T37" fmla="*/ 107 h 276"/>
                <a:gd name="T38" fmla="*/ 0 w 277"/>
                <a:gd name="T39" fmla="*/ 114 h 276"/>
                <a:gd name="T40" fmla="*/ 162 w 277"/>
                <a:gd name="T41" fmla="*/ 276 h 276"/>
                <a:gd name="T42" fmla="*/ 170 w 277"/>
                <a:gd name="T43" fmla="*/ 249 h 276"/>
                <a:gd name="T44" fmla="*/ 249 w 277"/>
                <a:gd name="T45" fmla="*/ 169 h 276"/>
                <a:gd name="T46" fmla="*/ 277 w 277"/>
                <a:gd name="T47" fmla="*/ 162 h 276"/>
                <a:gd name="T48" fmla="*/ 257 w 277"/>
                <a:gd name="T49" fmla="*/ 141 h 276"/>
                <a:gd name="T50" fmla="*/ 245 w 277"/>
                <a:gd name="T51" fmla="*/ 153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77" h="276">
                  <a:moveTo>
                    <a:pt x="245" y="153"/>
                  </a:moveTo>
                  <a:lnTo>
                    <a:pt x="241" y="137"/>
                  </a:lnTo>
                  <a:cubicBezTo>
                    <a:pt x="191" y="151"/>
                    <a:pt x="151" y="190"/>
                    <a:pt x="138" y="240"/>
                  </a:cubicBezTo>
                  <a:lnTo>
                    <a:pt x="154" y="244"/>
                  </a:lnTo>
                  <a:lnTo>
                    <a:pt x="166" y="232"/>
                  </a:lnTo>
                  <a:lnTo>
                    <a:pt x="44" y="111"/>
                  </a:lnTo>
                  <a:lnTo>
                    <a:pt x="32" y="123"/>
                  </a:lnTo>
                  <a:lnTo>
                    <a:pt x="37" y="139"/>
                  </a:lnTo>
                  <a:cubicBezTo>
                    <a:pt x="87" y="125"/>
                    <a:pt x="126" y="86"/>
                    <a:pt x="140" y="36"/>
                  </a:cubicBezTo>
                  <a:lnTo>
                    <a:pt x="123" y="32"/>
                  </a:lnTo>
                  <a:lnTo>
                    <a:pt x="112" y="43"/>
                  </a:lnTo>
                  <a:lnTo>
                    <a:pt x="233" y="165"/>
                  </a:lnTo>
                  <a:lnTo>
                    <a:pt x="245" y="153"/>
                  </a:lnTo>
                  <a:lnTo>
                    <a:pt x="241" y="137"/>
                  </a:lnTo>
                  <a:lnTo>
                    <a:pt x="245" y="153"/>
                  </a:lnTo>
                  <a:lnTo>
                    <a:pt x="257" y="141"/>
                  </a:lnTo>
                  <a:lnTo>
                    <a:pt x="115" y="0"/>
                  </a:lnTo>
                  <a:lnTo>
                    <a:pt x="107" y="27"/>
                  </a:lnTo>
                  <a:cubicBezTo>
                    <a:pt x="97" y="66"/>
                    <a:pt x="67" y="96"/>
                    <a:pt x="28" y="107"/>
                  </a:cubicBezTo>
                  <a:lnTo>
                    <a:pt x="0" y="114"/>
                  </a:lnTo>
                  <a:lnTo>
                    <a:pt x="162" y="276"/>
                  </a:lnTo>
                  <a:lnTo>
                    <a:pt x="170" y="249"/>
                  </a:lnTo>
                  <a:cubicBezTo>
                    <a:pt x="180" y="210"/>
                    <a:pt x="211" y="180"/>
                    <a:pt x="249" y="169"/>
                  </a:cubicBezTo>
                  <a:lnTo>
                    <a:pt x="277" y="162"/>
                  </a:lnTo>
                  <a:lnTo>
                    <a:pt x="257" y="141"/>
                  </a:lnTo>
                  <a:lnTo>
                    <a:pt x="245" y="1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18" name="Freeform 710">
              <a:extLst>
                <a:ext uri="{FF2B5EF4-FFF2-40B4-BE49-F238E27FC236}">
                  <a16:creationId xmlns:a16="http://schemas.microsoft.com/office/drawing/2014/main" id="{AD099A90-5BBF-5995-5BFB-6AB6DC0C6EF8}"/>
                </a:ext>
              </a:extLst>
            </p:cNvPr>
            <p:cNvSpPr>
              <a:spLocks/>
            </p:cNvSpPr>
            <p:nvPr/>
          </p:nvSpPr>
          <p:spPr bwMode="auto">
            <a:xfrm>
              <a:off x="8638721" y="3824096"/>
              <a:ext cx="456918" cy="342692"/>
            </a:xfrm>
            <a:custGeom>
              <a:avLst/>
              <a:gdLst>
                <a:gd name="T0" fmla="*/ 201 w 274"/>
                <a:gd name="T1" fmla="*/ 25 h 213"/>
                <a:gd name="T2" fmla="*/ 185 w 274"/>
                <a:gd name="T3" fmla="*/ 29 h 213"/>
                <a:gd name="T4" fmla="*/ 229 w 274"/>
                <a:gd name="T5" fmla="*/ 180 h 213"/>
                <a:gd name="T6" fmla="*/ 45 w 274"/>
                <a:gd name="T7" fmla="*/ 180 h 213"/>
                <a:gd name="T8" fmla="*/ 88 w 274"/>
                <a:gd name="T9" fmla="*/ 29 h 213"/>
                <a:gd name="T10" fmla="*/ 72 w 274"/>
                <a:gd name="T11" fmla="*/ 25 h 213"/>
                <a:gd name="T12" fmla="*/ 64 w 274"/>
                <a:gd name="T13" fmla="*/ 39 h 213"/>
                <a:gd name="T14" fmla="*/ 137 w 274"/>
                <a:gd name="T15" fmla="*/ 58 h 213"/>
                <a:gd name="T16" fmla="*/ 210 w 274"/>
                <a:gd name="T17" fmla="*/ 39 h 213"/>
                <a:gd name="T18" fmla="*/ 201 w 274"/>
                <a:gd name="T19" fmla="*/ 25 h 213"/>
                <a:gd name="T20" fmla="*/ 185 w 274"/>
                <a:gd name="T21" fmla="*/ 29 h 213"/>
                <a:gd name="T22" fmla="*/ 201 w 274"/>
                <a:gd name="T23" fmla="*/ 25 h 213"/>
                <a:gd name="T24" fmla="*/ 193 w 274"/>
                <a:gd name="T25" fmla="*/ 10 h 213"/>
                <a:gd name="T26" fmla="*/ 137 w 274"/>
                <a:gd name="T27" fmla="*/ 25 h 213"/>
                <a:gd name="T28" fmla="*/ 81 w 274"/>
                <a:gd name="T29" fmla="*/ 10 h 213"/>
                <a:gd name="T30" fmla="*/ 62 w 274"/>
                <a:gd name="T31" fmla="*/ 0 h 213"/>
                <a:gd name="T32" fmla="*/ 0 w 274"/>
                <a:gd name="T33" fmla="*/ 213 h 213"/>
                <a:gd name="T34" fmla="*/ 274 w 274"/>
                <a:gd name="T35" fmla="*/ 213 h 213"/>
                <a:gd name="T36" fmla="*/ 211 w 274"/>
                <a:gd name="T37" fmla="*/ 0 h 213"/>
                <a:gd name="T38" fmla="*/ 193 w 274"/>
                <a:gd name="T39" fmla="*/ 10 h 213"/>
                <a:gd name="T40" fmla="*/ 201 w 274"/>
                <a:gd name="T41" fmla="*/ 25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74" h="213">
                  <a:moveTo>
                    <a:pt x="201" y="25"/>
                  </a:moveTo>
                  <a:lnTo>
                    <a:pt x="185" y="29"/>
                  </a:lnTo>
                  <a:lnTo>
                    <a:pt x="229" y="180"/>
                  </a:lnTo>
                  <a:lnTo>
                    <a:pt x="45" y="180"/>
                  </a:lnTo>
                  <a:lnTo>
                    <a:pt x="88" y="29"/>
                  </a:lnTo>
                  <a:lnTo>
                    <a:pt x="72" y="25"/>
                  </a:lnTo>
                  <a:lnTo>
                    <a:pt x="64" y="39"/>
                  </a:lnTo>
                  <a:cubicBezTo>
                    <a:pt x="85" y="51"/>
                    <a:pt x="110" y="58"/>
                    <a:pt x="137" y="58"/>
                  </a:cubicBezTo>
                  <a:cubicBezTo>
                    <a:pt x="163" y="58"/>
                    <a:pt x="188" y="51"/>
                    <a:pt x="210" y="39"/>
                  </a:cubicBezTo>
                  <a:lnTo>
                    <a:pt x="201" y="25"/>
                  </a:lnTo>
                  <a:lnTo>
                    <a:pt x="185" y="29"/>
                  </a:lnTo>
                  <a:lnTo>
                    <a:pt x="201" y="25"/>
                  </a:lnTo>
                  <a:lnTo>
                    <a:pt x="193" y="10"/>
                  </a:lnTo>
                  <a:cubicBezTo>
                    <a:pt x="176" y="20"/>
                    <a:pt x="157" y="25"/>
                    <a:pt x="137" y="25"/>
                  </a:cubicBezTo>
                  <a:cubicBezTo>
                    <a:pt x="116" y="25"/>
                    <a:pt x="97" y="20"/>
                    <a:pt x="81" y="10"/>
                  </a:cubicBezTo>
                  <a:lnTo>
                    <a:pt x="62" y="0"/>
                  </a:lnTo>
                  <a:lnTo>
                    <a:pt x="0" y="213"/>
                  </a:lnTo>
                  <a:lnTo>
                    <a:pt x="274" y="213"/>
                  </a:lnTo>
                  <a:lnTo>
                    <a:pt x="211" y="0"/>
                  </a:lnTo>
                  <a:lnTo>
                    <a:pt x="193" y="10"/>
                  </a:lnTo>
                  <a:lnTo>
                    <a:pt x="201" y="25"/>
                  </a:lnTo>
                </a:path>
              </a:pathLst>
            </a:cu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19" name="Freeform 711">
              <a:extLst>
                <a:ext uri="{FF2B5EF4-FFF2-40B4-BE49-F238E27FC236}">
                  <a16:creationId xmlns:a16="http://schemas.microsoft.com/office/drawing/2014/main" id="{D0463A2D-711E-9153-7014-1CE4FDE4028A}"/>
                </a:ext>
              </a:extLst>
            </p:cNvPr>
            <p:cNvSpPr>
              <a:spLocks/>
            </p:cNvSpPr>
            <p:nvPr/>
          </p:nvSpPr>
          <p:spPr bwMode="auto">
            <a:xfrm>
              <a:off x="8626025" y="3430636"/>
              <a:ext cx="482302" cy="482302"/>
            </a:xfrm>
            <a:custGeom>
              <a:avLst/>
              <a:gdLst>
                <a:gd name="T0" fmla="*/ 275 w 292"/>
                <a:gd name="T1" fmla="*/ 146 h 292"/>
                <a:gd name="T2" fmla="*/ 259 w 292"/>
                <a:gd name="T3" fmla="*/ 146 h 292"/>
                <a:gd name="T4" fmla="*/ 202 w 292"/>
                <a:gd name="T5" fmla="*/ 244 h 292"/>
                <a:gd name="T6" fmla="*/ 202 w 292"/>
                <a:gd name="T7" fmla="*/ 244 h 292"/>
                <a:gd name="T8" fmla="*/ 146 w 292"/>
                <a:gd name="T9" fmla="*/ 259 h 292"/>
                <a:gd name="T10" fmla="*/ 90 w 292"/>
                <a:gd name="T11" fmla="*/ 244 h 292"/>
                <a:gd name="T12" fmla="*/ 90 w 292"/>
                <a:gd name="T13" fmla="*/ 244 h 292"/>
                <a:gd name="T14" fmla="*/ 33 w 292"/>
                <a:gd name="T15" fmla="*/ 146 h 292"/>
                <a:gd name="T16" fmla="*/ 37 w 292"/>
                <a:gd name="T17" fmla="*/ 117 h 292"/>
                <a:gd name="T18" fmla="*/ 37 w 292"/>
                <a:gd name="T19" fmla="*/ 117 h 292"/>
                <a:gd name="T20" fmla="*/ 116 w 292"/>
                <a:gd name="T21" fmla="*/ 37 h 292"/>
                <a:gd name="T22" fmla="*/ 146 w 292"/>
                <a:gd name="T23" fmla="*/ 33 h 292"/>
                <a:gd name="T24" fmla="*/ 226 w 292"/>
                <a:gd name="T25" fmla="*/ 66 h 292"/>
                <a:gd name="T26" fmla="*/ 259 w 292"/>
                <a:gd name="T27" fmla="*/ 146 h 292"/>
                <a:gd name="T28" fmla="*/ 275 w 292"/>
                <a:gd name="T29" fmla="*/ 146 h 292"/>
                <a:gd name="T30" fmla="*/ 292 w 292"/>
                <a:gd name="T31" fmla="*/ 146 h 292"/>
                <a:gd name="T32" fmla="*/ 146 w 292"/>
                <a:gd name="T33" fmla="*/ 0 h 292"/>
                <a:gd name="T34" fmla="*/ 108 w 292"/>
                <a:gd name="T35" fmla="*/ 5 h 292"/>
                <a:gd name="T36" fmla="*/ 5 w 292"/>
                <a:gd name="T37" fmla="*/ 108 h 292"/>
                <a:gd name="T38" fmla="*/ 5 w 292"/>
                <a:gd name="T39" fmla="*/ 108 h 292"/>
                <a:gd name="T40" fmla="*/ 0 w 292"/>
                <a:gd name="T41" fmla="*/ 146 h 292"/>
                <a:gd name="T42" fmla="*/ 73 w 292"/>
                <a:gd name="T43" fmla="*/ 273 h 292"/>
                <a:gd name="T44" fmla="*/ 73 w 292"/>
                <a:gd name="T45" fmla="*/ 273 h 292"/>
                <a:gd name="T46" fmla="*/ 146 w 292"/>
                <a:gd name="T47" fmla="*/ 292 h 292"/>
                <a:gd name="T48" fmla="*/ 219 w 292"/>
                <a:gd name="T49" fmla="*/ 273 h 292"/>
                <a:gd name="T50" fmla="*/ 219 w 292"/>
                <a:gd name="T51" fmla="*/ 273 h 292"/>
                <a:gd name="T52" fmla="*/ 292 w 292"/>
                <a:gd name="T53" fmla="*/ 146 h 292"/>
                <a:gd name="T54" fmla="*/ 275 w 292"/>
                <a:gd name="T55" fmla="*/ 146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92" h="292">
                  <a:moveTo>
                    <a:pt x="275" y="146"/>
                  </a:moveTo>
                  <a:lnTo>
                    <a:pt x="259" y="146"/>
                  </a:lnTo>
                  <a:cubicBezTo>
                    <a:pt x="259" y="188"/>
                    <a:pt x="236" y="225"/>
                    <a:pt x="202" y="244"/>
                  </a:cubicBezTo>
                  <a:lnTo>
                    <a:pt x="202" y="244"/>
                  </a:lnTo>
                  <a:cubicBezTo>
                    <a:pt x="185" y="254"/>
                    <a:pt x="166" y="259"/>
                    <a:pt x="146" y="259"/>
                  </a:cubicBezTo>
                  <a:cubicBezTo>
                    <a:pt x="125" y="259"/>
                    <a:pt x="106" y="254"/>
                    <a:pt x="90" y="244"/>
                  </a:cubicBezTo>
                  <a:lnTo>
                    <a:pt x="90" y="244"/>
                  </a:lnTo>
                  <a:cubicBezTo>
                    <a:pt x="56" y="225"/>
                    <a:pt x="33" y="188"/>
                    <a:pt x="33" y="146"/>
                  </a:cubicBezTo>
                  <a:cubicBezTo>
                    <a:pt x="33" y="136"/>
                    <a:pt x="34" y="126"/>
                    <a:pt x="37" y="117"/>
                  </a:cubicBezTo>
                  <a:lnTo>
                    <a:pt x="37" y="117"/>
                  </a:lnTo>
                  <a:cubicBezTo>
                    <a:pt x="47" y="78"/>
                    <a:pt x="78" y="48"/>
                    <a:pt x="116" y="37"/>
                  </a:cubicBezTo>
                  <a:cubicBezTo>
                    <a:pt x="126" y="35"/>
                    <a:pt x="136" y="33"/>
                    <a:pt x="146" y="33"/>
                  </a:cubicBezTo>
                  <a:cubicBezTo>
                    <a:pt x="177" y="33"/>
                    <a:pt x="205" y="46"/>
                    <a:pt x="226" y="66"/>
                  </a:cubicBezTo>
                  <a:cubicBezTo>
                    <a:pt x="246" y="87"/>
                    <a:pt x="259" y="115"/>
                    <a:pt x="259" y="146"/>
                  </a:cubicBezTo>
                  <a:lnTo>
                    <a:pt x="275" y="146"/>
                  </a:lnTo>
                  <a:lnTo>
                    <a:pt x="292" y="146"/>
                  </a:lnTo>
                  <a:cubicBezTo>
                    <a:pt x="292" y="65"/>
                    <a:pt x="227" y="0"/>
                    <a:pt x="146" y="0"/>
                  </a:cubicBezTo>
                  <a:cubicBezTo>
                    <a:pt x="133" y="0"/>
                    <a:pt x="120" y="2"/>
                    <a:pt x="108" y="5"/>
                  </a:cubicBezTo>
                  <a:cubicBezTo>
                    <a:pt x="58" y="19"/>
                    <a:pt x="18" y="58"/>
                    <a:pt x="5" y="108"/>
                  </a:cubicBezTo>
                  <a:lnTo>
                    <a:pt x="5" y="108"/>
                  </a:lnTo>
                  <a:cubicBezTo>
                    <a:pt x="1" y="120"/>
                    <a:pt x="0" y="133"/>
                    <a:pt x="0" y="146"/>
                  </a:cubicBezTo>
                  <a:cubicBezTo>
                    <a:pt x="0" y="200"/>
                    <a:pt x="29" y="248"/>
                    <a:pt x="73" y="273"/>
                  </a:cubicBezTo>
                  <a:lnTo>
                    <a:pt x="73" y="273"/>
                  </a:lnTo>
                  <a:cubicBezTo>
                    <a:pt x="94" y="285"/>
                    <a:pt x="119" y="292"/>
                    <a:pt x="146" y="292"/>
                  </a:cubicBezTo>
                  <a:cubicBezTo>
                    <a:pt x="172" y="292"/>
                    <a:pt x="197" y="285"/>
                    <a:pt x="219" y="273"/>
                  </a:cubicBezTo>
                  <a:lnTo>
                    <a:pt x="219" y="273"/>
                  </a:lnTo>
                  <a:cubicBezTo>
                    <a:pt x="262" y="248"/>
                    <a:pt x="292" y="200"/>
                    <a:pt x="292" y="146"/>
                  </a:cubicBezTo>
                  <a:lnTo>
                    <a:pt x="275" y="14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20" name="Freeform 712">
              <a:extLst>
                <a:ext uri="{FF2B5EF4-FFF2-40B4-BE49-F238E27FC236}">
                  <a16:creationId xmlns:a16="http://schemas.microsoft.com/office/drawing/2014/main" id="{43583546-6E51-9B28-3327-BC62A1F4380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9108" y="2973718"/>
              <a:ext cx="482302" cy="482302"/>
            </a:xfrm>
            <a:custGeom>
              <a:avLst/>
              <a:gdLst>
                <a:gd name="T0" fmla="*/ 276 w 293"/>
                <a:gd name="T1" fmla="*/ 146 h 292"/>
                <a:gd name="T2" fmla="*/ 259 w 293"/>
                <a:gd name="T3" fmla="*/ 146 h 292"/>
                <a:gd name="T4" fmla="*/ 255 w 293"/>
                <a:gd name="T5" fmla="*/ 175 h 292"/>
                <a:gd name="T6" fmla="*/ 176 w 293"/>
                <a:gd name="T7" fmla="*/ 255 h 292"/>
                <a:gd name="T8" fmla="*/ 176 w 293"/>
                <a:gd name="T9" fmla="*/ 255 h 292"/>
                <a:gd name="T10" fmla="*/ 146 w 293"/>
                <a:gd name="T11" fmla="*/ 259 h 292"/>
                <a:gd name="T12" fmla="*/ 105 w 293"/>
                <a:gd name="T13" fmla="*/ 251 h 292"/>
                <a:gd name="T14" fmla="*/ 105 w 293"/>
                <a:gd name="T15" fmla="*/ 251 h 292"/>
                <a:gd name="T16" fmla="*/ 35 w 293"/>
                <a:gd name="T17" fmla="*/ 163 h 292"/>
                <a:gd name="T18" fmla="*/ 33 w 293"/>
                <a:gd name="T19" fmla="*/ 146 h 292"/>
                <a:gd name="T20" fmla="*/ 67 w 293"/>
                <a:gd name="T21" fmla="*/ 66 h 292"/>
                <a:gd name="T22" fmla="*/ 146 w 293"/>
                <a:gd name="T23" fmla="*/ 33 h 292"/>
                <a:gd name="T24" fmla="*/ 226 w 293"/>
                <a:gd name="T25" fmla="*/ 66 h 292"/>
                <a:gd name="T26" fmla="*/ 259 w 293"/>
                <a:gd name="T27" fmla="*/ 146 h 292"/>
                <a:gd name="T28" fmla="*/ 276 w 293"/>
                <a:gd name="T29" fmla="*/ 146 h 292"/>
                <a:gd name="T30" fmla="*/ 293 w 293"/>
                <a:gd name="T31" fmla="*/ 146 h 292"/>
                <a:gd name="T32" fmla="*/ 146 w 293"/>
                <a:gd name="T33" fmla="*/ 0 h 292"/>
                <a:gd name="T34" fmla="*/ 0 w 293"/>
                <a:gd name="T35" fmla="*/ 146 h 292"/>
                <a:gd name="T36" fmla="*/ 2 w 293"/>
                <a:gd name="T37" fmla="*/ 168 h 292"/>
                <a:gd name="T38" fmla="*/ 92 w 293"/>
                <a:gd name="T39" fmla="*/ 282 h 292"/>
                <a:gd name="T40" fmla="*/ 92 w 293"/>
                <a:gd name="T41" fmla="*/ 282 h 292"/>
                <a:gd name="T42" fmla="*/ 146 w 293"/>
                <a:gd name="T43" fmla="*/ 292 h 292"/>
                <a:gd name="T44" fmla="*/ 185 w 293"/>
                <a:gd name="T45" fmla="*/ 287 h 292"/>
                <a:gd name="T46" fmla="*/ 185 w 293"/>
                <a:gd name="T47" fmla="*/ 287 h 292"/>
                <a:gd name="T48" fmla="*/ 288 w 293"/>
                <a:gd name="T49" fmla="*/ 184 h 292"/>
                <a:gd name="T50" fmla="*/ 293 w 293"/>
                <a:gd name="T51" fmla="*/ 146 h 292"/>
                <a:gd name="T52" fmla="*/ 276 w 293"/>
                <a:gd name="T53" fmla="*/ 146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93" h="292">
                  <a:moveTo>
                    <a:pt x="276" y="146"/>
                  </a:moveTo>
                  <a:lnTo>
                    <a:pt x="259" y="146"/>
                  </a:lnTo>
                  <a:cubicBezTo>
                    <a:pt x="259" y="156"/>
                    <a:pt x="258" y="166"/>
                    <a:pt x="255" y="175"/>
                  </a:cubicBezTo>
                  <a:cubicBezTo>
                    <a:pt x="245" y="214"/>
                    <a:pt x="215" y="244"/>
                    <a:pt x="176" y="255"/>
                  </a:cubicBezTo>
                  <a:lnTo>
                    <a:pt x="176" y="255"/>
                  </a:lnTo>
                  <a:cubicBezTo>
                    <a:pt x="167" y="257"/>
                    <a:pt x="157" y="259"/>
                    <a:pt x="146" y="259"/>
                  </a:cubicBezTo>
                  <a:cubicBezTo>
                    <a:pt x="132" y="259"/>
                    <a:pt x="118" y="256"/>
                    <a:pt x="105" y="251"/>
                  </a:cubicBezTo>
                  <a:lnTo>
                    <a:pt x="105" y="251"/>
                  </a:lnTo>
                  <a:cubicBezTo>
                    <a:pt x="68" y="236"/>
                    <a:pt x="41" y="203"/>
                    <a:pt x="35" y="163"/>
                  </a:cubicBezTo>
                  <a:cubicBezTo>
                    <a:pt x="34" y="158"/>
                    <a:pt x="33" y="152"/>
                    <a:pt x="33" y="146"/>
                  </a:cubicBezTo>
                  <a:cubicBezTo>
                    <a:pt x="34" y="115"/>
                    <a:pt x="46" y="86"/>
                    <a:pt x="67" y="66"/>
                  </a:cubicBezTo>
                  <a:cubicBezTo>
                    <a:pt x="87" y="46"/>
                    <a:pt x="115" y="33"/>
                    <a:pt x="146" y="33"/>
                  </a:cubicBezTo>
                  <a:cubicBezTo>
                    <a:pt x="178" y="33"/>
                    <a:pt x="206" y="46"/>
                    <a:pt x="226" y="66"/>
                  </a:cubicBezTo>
                  <a:cubicBezTo>
                    <a:pt x="247" y="86"/>
                    <a:pt x="259" y="115"/>
                    <a:pt x="259" y="146"/>
                  </a:cubicBezTo>
                  <a:lnTo>
                    <a:pt x="276" y="146"/>
                  </a:lnTo>
                  <a:lnTo>
                    <a:pt x="293" y="146"/>
                  </a:lnTo>
                  <a:cubicBezTo>
                    <a:pt x="293" y="65"/>
                    <a:pt x="227" y="0"/>
                    <a:pt x="146" y="0"/>
                  </a:cubicBezTo>
                  <a:cubicBezTo>
                    <a:pt x="66" y="0"/>
                    <a:pt x="0" y="65"/>
                    <a:pt x="0" y="146"/>
                  </a:cubicBezTo>
                  <a:cubicBezTo>
                    <a:pt x="0" y="153"/>
                    <a:pt x="1" y="161"/>
                    <a:pt x="2" y="168"/>
                  </a:cubicBezTo>
                  <a:cubicBezTo>
                    <a:pt x="10" y="220"/>
                    <a:pt x="45" y="263"/>
                    <a:pt x="92" y="282"/>
                  </a:cubicBezTo>
                  <a:lnTo>
                    <a:pt x="92" y="282"/>
                  </a:lnTo>
                  <a:cubicBezTo>
                    <a:pt x="109" y="288"/>
                    <a:pt x="127" y="292"/>
                    <a:pt x="146" y="292"/>
                  </a:cubicBezTo>
                  <a:cubicBezTo>
                    <a:pt x="160" y="292"/>
                    <a:pt x="173" y="290"/>
                    <a:pt x="185" y="287"/>
                  </a:cubicBezTo>
                  <a:lnTo>
                    <a:pt x="185" y="287"/>
                  </a:lnTo>
                  <a:cubicBezTo>
                    <a:pt x="235" y="273"/>
                    <a:pt x="274" y="234"/>
                    <a:pt x="288" y="184"/>
                  </a:cubicBezTo>
                  <a:cubicBezTo>
                    <a:pt x="291" y="172"/>
                    <a:pt x="293" y="159"/>
                    <a:pt x="293" y="146"/>
                  </a:cubicBezTo>
                  <a:lnTo>
                    <a:pt x="276" y="146"/>
                  </a:lnTo>
                </a:path>
              </a:pathLst>
            </a:cu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21" name="Freeform 713">
              <a:extLst>
                <a:ext uri="{FF2B5EF4-FFF2-40B4-BE49-F238E27FC236}">
                  <a16:creationId xmlns:a16="http://schemas.microsoft.com/office/drawing/2014/main" id="{4B7F004A-5815-6266-072C-4362A0C497D0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2194" y="4141396"/>
              <a:ext cx="444229" cy="355380"/>
            </a:xfrm>
            <a:custGeom>
              <a:avLst/>
              <a:gdLst>
                <a:gd name="T0" fmla="*/ 225 w 275"/>
                <a:gd name="T1" fmla="*/ 197 h 214"/>
                <a:gd name="T2" fmla="*/ 225 w 275"/>
                <a:gd name="T3" fmla="*/ 181 h 214"/>
                <a:gd name="T4" fmla="*/ 50 w 275"/>
                <a:gd name="T5" fmla="*/ 181 h 214"/>
                <a:gd name="T6" fmla="*/ 33 w 275"/>
                <a:gd name="T7" fmla="*/ 164 h 214"/>
                <a:gd name="T8" fmla="*/ 33 w 275"/>
                <a:gd name="T9" fmla="*/ 50 h 214"/>
                <a:gd name="T10" fmla="*/ 50 w 275"/>
                <a:gd name="T11" fmla="*/ 33 h 214"/>
                <a:gd name="T12" fmla="*/ 225 w 275"/>
                <a:gd name="T13" fmla="*/ 33 h 214"/>
                <a:gd name="T14" fmla="*/ 242 w 275"/>
                <a:gd name="T15" fmla="*/ 50 h 214"/>
                <a:gd name="T16" fmla="*/ 242 w 275"/>
                <a:gd name="T17" fmla="*/ 164 h 214"/>
                <a:gd name="T18" fmla="*/ 225 w 275"/>
                <a:gd name="T19" fmla="*/ 181 h 214"/>
                <a:gd name="T20" fmla="*/ 225 w 275"/>
                <a:gd name="T21" fmla="*/ 197 h 214"/>
                <a:gd name="T22" fmla="*/ 225 w 275"/>
                <a:gd name="T23" fmla="*/ 214 h 214"/>
                <a:gd name="T24" fmla="*/ 275 w 275"/>
                <a:gd name="T25" fmla="*/ 164 h 214"/>
                <a:gd name="T26" fmla="*/ 275 w 275"/>
                <a:gd name="T27" fmla="*/ 50 h 214"/>
                <a:gd name="T28" fmla="*/ 225 w 275"/>
                <a:gd name="T29" fmla="*/ 0 h 214"/>
                <a:gd name="T30" fmla="*/ 50 w 275"/>
                <a:gd name="T31" fmla="*/ 0 h 214"/>
                <a:gd name="T32" fmla="*/ 0 w 275"/>
                <a:gd name="T33" fmla="*/ 50 h 214"/>
                <a:gd name="T34" fmla="*/ 0 w 275"/>
                <a:gd name="T35" fmla="*/ 164 h 214"/>
                <a:gd name="T36" fmla="*/ 50 w 275"/>
                <a:gd name="T37" fmla="*/ 214 h 214"/>
                <a:gd name="T38" fmla="*/ 225 w 275"/>
                <a:gd name="T39" fmla="*/ 214 h 214"/>
                <a:gd name="T40" fmla="*/ 225 w 275"/>
                <a:gd name="T41" fmla="*/ 197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75" h="214">
                  <a:moveTo>
                    <a:pt x="225" y="197"/>
                  </a:moveTo>
                  <a:lnTo>
                    <a:pt x="225" y="181"/>
                  </a:lnTo>
                  <a:lnTo>
                    <a:pt x="50" y="181"/>
                  </a:lnTo>
                  <a:cubicBezTo>
                    <a:pt x="40" y="181"/>
                    <a:pt x="33" y="173"/>
                    <a:pt x="33" y="164"/>
                  </a:cubicBezTo>
                  <a:lnTo>
                    <a:pt x="33" y="50"/>
                  </a:lnTo>
                  <a:cubicBezTo>
                    <a:pt x="33" y="41"/>
                    <a:pt x="40" y="33"/>
                    <a:pt x="50" y="33"/>
                  </a:cubicBezTo>
                  <a:lnTo>
                    <a:pt x="225" y="33"/>
                  </a:lnTo>
                  <a:cubicBezTo>
                    <a:pt x="234" y="33"/>
                    <a:pt x="242" y="41"/>
                    <a:pt x="242" y="50"/>
                  </a:cubicBezTo>
                  <a:lnTo>
                    <a:pt x="242" y="164"/>
                  </a:lnTo>
                  <a:cubicBezTo>
                    <a:pt x="242" y="173"/>
                    <a:pt x="234" y="181"/>
                    <a:pt x="225" y="181"/>
                  </a:cubicBezTo>
                  <a:lnTo>
                    <a:pt x="225" y="197"/>
                  </a:lnTo>
                  <a:lnTo>
                    <a:pt x="225" y="214"/>
                  </a:lnTo>
                  <a:cubicBezTo>
                    <a:pt x="253" y="214"/>
                    <a:pt x="275" y="192"/>
                    <a:pt x="275" y="164"/>
                  </a:cubicBezTo>
                  <a:lnTo>
                    <a:pt x="275" y="50"/>
                  </a:lnTo>
                  <a:cubicBezTo>
                    <a:pt x="275" y="22"/>
                    <a:pt x="253" y="0"/>
                    <a:pt x="225" y="0"/>
                  </a:cubicBezTo>
                  <a:lnTo>
                    <a:pt x="50" y="0"/>
                  </a:lnTo>
                  <a:cubicBezTo>
                    <a:pt x="22" y="0"/>
                    <a:pt x="0" y="22"/>
                    <a:pt x="0" y="50"/>
                  </a:cubicBezTo>
                  <a:lnTo>
                    <a:pt x="0" y="164"/>
                  </a:lnTo>
                  <a:cubicBezTo>
                    <a:pt x="0" y="192"/>
                    <a:pt x="22" y="214"/>
                    <a:pt x="50" y="214"/>
                  </a:cubicBezTo>
                  <a:lnTo>
                    <a:pt x="225" y="214"/>
                  </a:lnTo>
                  <a:lnTo>
                    <a:pt x="225" y="19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22" name="Rectangle 714">
              <a:extLst>
                <a:ext uri="{FF2B5EF4-FFF2-40B4-BE49-F238E27FC236}">
                  <a16:creationId xmlns:a16="http://schemas.microsoft.com/office/drawing/2014/main" id="{2D0DEF69-A29F-2F2C-8FA2-9F34AD7277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72580" y="4014475"/>
              <a:ext cx="63465" cy="76153"/>
            </a:xfrm>
            <a:prstGeom prst="rect">
              <a:avLst/>
            </a:pr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23" name="Freeform 715">
              <a:extLst>
                <a:ext uri="{FF2B5EF4-FFF2-40B4-BE49-F238E27FC236}">
                  <a16:creationId xmlns:a16="http://schemas.microsoft.com/office/drawing/2014/main" id="{FFCCC492-E74F-455C-EA0E-CF4F55D1BB6F}"/>
                </a:ext>
              </a:extLst>
            </p:cNvPr>
            <p:cNvSpPr>
              <a:spLocks/>
            </p:cNvSpPr>
            <p:nvPr/>
          </p:nvSpPr>
          <p:spPr bwMode="auto">
            <a:xfrm>
              <a:off x="7471043" y="3798712"/>
              <a:ext cx="203074" cy="190386"/>
            </a:xfrm>
            <a:custGeom>
              <a:avLst/>
              <a:gdLst>
                <a:gd name="T0" fmla="*/ 21 w 128"/>
                <a:gd name="T1" fmla="*/ 112 h 112"/>
                <a:gd name="T2" fmla="*/ 128 w 128"/>
                <a:gd name="T3" fmla="*/ 26 h 112"/>
                <a:gd name="T4" fmla="*/ 107 w 128"/>
                <a:gd name="T5" fmla="*/ 0 h 112"/>
                <a:gd name="T6" fmla="*/ 0 w 128"/>
                <a:gd name="T7" fmla="*/ 86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8" h="112">
                  <a:moveTo>
                    <a:pt x="21" y="112"/>
                  </a:moveTo>
                  <a:lnTo>
                    <a:pt x="128" y="26"/>
                  </a:lnTo>
                  <a:lnTo>
                    <a:pt x="107" y="0"/>
                  </a:lnTo>
                  <a:lnTo>
                    <a:pt x="0" y="86"/>
                  </a:lnTo>
                </a:path>
              </a:pathLst>
            </a:cu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24" name="Freeform 716">
              <a:extLst>
                <a:ext uri="{FF2B5EF4-FFF2-40B4-BE49-F238E27FC236}">
                  <a16:creationId xmlns:a16="http://schemas.microsoft.com/office/drawing/2014/main" id="{3A552376-2EBC-E000-CF8C-01E09CB49E30}"/>
                </a:ext>
              </a:extLst>
            </p:cNvPr>
            <p:cNvSpPr>
              <a:spLocks/>
            </p:cNvSpPr>
            <p:nvPr/>
          </p:nvSpPr>
          <p:spPr bwMode="auto">
            <a:xfrm>
              <a:off x="7813727" y="3989090"/>
              <a:ext cx="139618" cy="126922"/>
            </a:xfrm>
            <a:custGeom>
              <a:avLst/>
              <a:gdLst>
                <a:gd name="T0" fmla="*/ 21 w 85"/>
                <a:gd name="T1" fmla="*/ 78 h 78"/>
                <a:gd name="T2" fmla="*/ 85 w 85"/>
                <a:gd name="T3" fmla="*/ 26 h 78"/>
                <a:gd name="T4" fmla="*/ 64 w 85"/>
                <a:gd name="T5" fmla="*/ 0 h 78"/>
                <a:gd name="T6" fmla="*/ 0 w 85"/>
                <a:gd name="T7" fmla="*/ 52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5" h="78">
                  <a:moveTo>
                    <a:pt x="21" y="78"/>
                  </a:moveTo>
                  <a:lnTo>
                    <a:pt x="85" y="26"/>
                  </a:lnTo>
                  <a:lnTo>
                    <a:pt x="64" y="0"/>
                  </a:lnTo>
                  <a:lnTo>
                    <a:pt x="0" y="52"/>
                  </a:lnTo>
                </a:path>
              </a:pathLst>
            </a:cu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25" name="Freeform 717">
              <a:extLst>
                <a:ext uri="{FF2B5EF4-FFF2-40B4-BE49-F238E27FC236}">
                  <a16:creationId xmlns:a16="http://schemas.microsoft.com/office/drawing/2014/main" id="{2B9EF68C-3AB5-90B6-8814-8AA938B65F6C}"/>
                </a:ext>
              </a:extLst>
            </p:cNvPr>
            <p:cNvSpPr>
              <a:spLocks/>
            </p:cNvSpPr>
            <p:nvPr/>
          </p:nvSpPr>
          <p:spPr bwMode="auto">
            <a:xfrm>
              <a:off x="7255272" y="3989090"/>
              <a:ext cx="165002" cy="152306"/>
            </a:xfrm>
            <a:custGeom>
              <a:avLst/>
              <a:gdLst>
                <a:gd name="T0" fmla="*/ 103 w 103"/>
                <a:gd name="T1" fmla="*/ 71 h 96"/>
                <a:gd name="T2" fmla="*/ 22 w 103"/>
                <a:gd name="T3" fmla="*/ 0 h 96"/>
                <a:gd name="T4" fmla="*/ 0 w 103"/>
                <a:gd name="T5" fmla="*/ 25 h 96"/>
                <a:gd name="T6" fmla="*/ 81 w 103"/>
                <a:gd name="T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3" h="96">
                  <a:moveTo>
                    <a:pt x="103" y="71"/>
                  </a:moveTo>
                  <a:lnTo>
                    <a:pt x="22" y="0"/>
                  </a:lnTo>
                  <a:lnTo>
                    <a:pt x="0" y="25"/>
                  </a:lnTo>
                  <a:lnTo>
                    <a:pt x="81" y="96"/>
                  </a:lnTo>
                </a:path>
              </a:pathLst>
            </a:cu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26" name="Freeform 718">
              <a:extLst>
                <a:ext uri="{FF2B5EF4-FFF2-40B4-BE49-F238E27FC236}">
                  <a16:creationId xmlns:a16="http://schemas.microsoft.com/office/drawing/2014/main" id="{712FC44A-B0A0-D57B-BF02-8ADAABFC95D1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6415" y="4116012"/>
              <a:ext cx="786914" cy="215771"/>
            </a:xfrm>
            <a:custGeom>
              <a:avLst/>
              <a:gdLst>
                <a:gd name="T0" fmla="*/ 60 w 62"/>
                <a:gd name="T1" fmla="*/ 15 h 17"/>
                <a:gd name="T2" fmla="*/ 60 w 62"/>
                <a:gd name="T3" fmla="*/ 13 h 17"/>
                <a:gd name="T4" fmla="*/ 5 w 62"/>
                <a:gd name="T5" fmla="*/ 13 h 17"/>
                <a:gd name="T6" fmla="*/ 5 w 62"/>
                <a:gd name="T7" fmla="*/ 4 h 17"/>
                <a:gd name="T8" fmla="*/ 58 w 62"/>
                <a:gd name="T9" fmla="*/ 4 h 17"/>
                <a:gd name="T10" fmla="*/ 58 w 62"/>
                <a:gd name="T11" fmla="*/ 15 h 17"/>
                <a:gd name="T12" fmla="*/ 60 w 62"/>
                <a:gd name="T13" fmla="*/ 15 h 17"/>
                <a:gd name="T14" fmla="*/ 60 w 62"/>
                <a:gd name="T15" fmla="*/ 13 h 17"/>
                <a:gd name="T16" fmla="*/ 60 w 62"/>
                <a:gd name="T17" fmla="*/ 15 h 17"/>
                <a:gd name="T18" fmla="*/ 62 w 62"/>
                <a:gd name="T19" fmla="*/ 15 h 17"/>
                <a:gd name="T20" fmla="*/ 62 w 62"/>
                <a:gd name="T21" fmla="*/ 0 h 17"/>
                <a:gd name="T22" fmla="*/ 0 w 62"/>
                <a:gd name="T23" fmla="*/ 0 h 17"/>
                <a:gd name="T24" fmla="*/ 0 w 62"/>
                <a:gd name="T25" fmla="*/ 17 h 17"/>
                <a:gd name="T26" fmla="*/ 62 w 62"/>
                <a:gd name="T27" fmla="*/ 17 h 17"/>
                <a:gd name="T28" fmla="*/ 62 w 62"/>
                <a:gd name="T29" fmla="*/ 15 h 17"/>
                <a:gd name="T30" fmla="*/ 60 w 62"/>
                <a:gd name="T31" fmla="*/ 1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2" h="17">
                  <a:moveTo>
                    <a:pt x="60" y="15"/>
                  </a:moveTo>
                  <a:lnTo>
                    <a:pt x="60" y="13"/>
                  </a:lnTo>
                  <a:lnTo>
                    <a:pt x="5" y="13"/>
                  </a:lnTo>
                  <a:lnTo>
                    <a:pt x="5" y="4"/>
                  </a:lnTo>
                  <a:lnTo>
                    <a:pt x="58" y="4"/>
                  </a:lnTo>
                  <a:lnTo>
                    <a:pt x="58" y="15"/>
                  </a:lnTo>
                  <a:lnTo>
                    <a:pt x="60" y="15"/>
                  </a:lnTo>
                  <a:lnTo>
                    <a:pt x="60" y="13"/>
                  </a:lnTo>
                  <a:lnTo>
                    <a:pt x="60" y="15"/>
                  </a:lnTo>
                  <a:lnTo>
                    <a:pt x="62" y="15"/>
                  </a:lnTo>
                  <a:lnTo>
                    <a:pt x="6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62" y="17"/>
                  </a:lnTo>
                  <a:lnTo>
                    <a:pt x="62" y="15"/>
                  </a:lnTo>
                  <a:lnTo>
                    <a:pt x="60" y="1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27" name="Freeform 719">
              <a:extLst>
                <a:ext uri="{FF2B5EF4-FFF2-40B4-BE49-F238E27FC236}">
                  <a16:creationId xmlns:a16="http://schemas.microsoft.com/office/drawing/2014/main" id="{CA65D74C-6153-19DA-F293-D32FCAD0B53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17200" y="4446008"/>
              <a:ext cx="786914" cy="215771"/>
            </a:xfrm>
            <a:custGeom>
              <a:avLst/>
              <a:gdLst>
                <a:gd name="T0" fmla="*/ 59 w 62"/>
                <a:gd name="T1" fmla="*/ 15 h 17"/>
                <a:gd name="T2" fmla="*/ 59 w 62"/>
                <a:gd name="T3" fmla="*/ 13 h 17"/>
                <a:gd name="T4" fmla="*/ 4 w 62"/>
                <a:gd name="T5" fmla="*/ 13 h 17"/>
                <a:gd name="T6" fmla="*/ 4 w 62"/>
                <a:gd name="T7" fmla="*/ 4 h 17"/>
                <a:gd name="T8" fmla="*/ 57 w 62"/>
                <a:gd name="T9" fmla="*/ 4 h 17"/>
                <a:gd name="T10" fmla="*/ 57 w 62"/>
                <a:gd name="T11" fmla="*/ 15 h 17"/>
                <a:gd name="T12" fmla="*/ 59 w 62"/>
                <a:gd name="T13" fmla="*/ 15 h 17"/>
                <a:gd name="T14" fmla="*/ 59 w 62"/>
                <a:gd name="T15" fmla="*/ 13 h 17"/>
                <a:gd name="T16" fmla="*/ 59 w 62"/>
                <a:gd name="T17" fmla="*/ 15 h 17"/>
                <a:gd name="T18" fmla="*/ 62 w 62"/>
                <a:gd name="T19" fmla="*/ 15 h 17"/>
                <a:gd name="T20" fmla="*/ 62 w 62"/>
                <a:gd name="T21" fmla="*/ 0 h 17"/>
                <a:gd name="T22" fmla="*/ 0 w 62"/>
                <a:gd name="T23" fmla="*/ 0 h 17"/>
                <a:gd name="T24" fmla="*/ 0 w 62"/>
                <a:gd name="T25" fmla="*/ 17 h 17"/>
                <a:gd name="T26" fmla="*/ 62 w 62"/>
                <a:gd name="T27" fmla="*/ 17 h 17"/>
                <a:gd name="T28" fmla="*/ 62 w 62"/>
                <a:gd name="T29" fmla="*/ 15 h 17"/>
                <a:gd name="T30" fmla="*/ 59 w 62"/>
                <a:gd name="T31" fmla="*/ 1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2" h="17">
                  <a:moveTo>
                    <a:pt x="59" y="15"/>
                  </a:moveTo>
                  <a:lnTo>
                    <a:pt x="59" y="13"/>
                  </a:lnTo>
                  <a:lnTo>
                    <a:pt x="4" y="13"/>
                  </a:lnTo>
                  <a:lnTo>
                    <a:pt x="4" y="4"/>
                  </a:lnTo>
                  <a:lnTo>
                    <a:pt x="57" y="4"/>
                  </a:lnTo>
                  <a:lnTo>
                    <a:pt x="57" y="15"/>
                  </a:lnTo>
                  <a:lnTo>
                    <a:pt x="59" y="15"/>
                  </a:lnTo>
                  <a:lnTo>
                    <a:pt x="59" y="13"/>
                  </a:lnTo>
                  <a:lnTo>
                    <a:pt x="59" y="15"/>
                  </a:lnTo>
                  <a:lnTo>
                    <a:pt x="62" y="15"/>
                  </a:lnTo>
                  <a:lnTo>
                    <a:pt x="6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62" y="17"/>
                  </a:lnTo>
                  <a:lnTo>
                    <a:pt x="62" y="15"/>
                  </a:lnTo>
                  <a:lnTo>
                    <a:pt x="59" y="1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28" name="Freeform 720">
              <a:extLst>
                <a:ext uri="{FF2B5EF4-FFF2-40B4-BE49-F238E27FC236}">
                  <a16:creationId xmlns:a16="http://schemas.microsoft.com/office/drawing/2014/main" id="{DD040EC5-90D7-D548-187D-A2FFA26DD8AD}"/>
                </a:ext>
              </a:extLst>
            </p:cNvPr>
            <p:cNvSpPr>
              <a:spLocks/>
            </p:cNvSpPr>
            <p:nvPr/>
          </p:nvSpPr>
          <p:spPr bwMode="auto">
            <a:xfrm>
              <a:off x="8524488" y="4281014"/>
              <a:ext cx="710761" cy="926531"/>
            </a:xfrm>
            <a:custGeom>
              <a:avLst/>
              <a:gdLst>
                <a:gd name="T0" fmla="*/ 47 w 56"/>
                <a:gd name="T1" fmla="*/ 20 h 73"/>
                <a:gd name="T2" fmla="*/ 49 w 56"/>
                <a:gd name="T3" fmla="*/ 21 h 73"/>
                <a:gd name="T4" fmla="*/ 52 w 56"/>
                <a:gd name="T5" fmla="*/ 0 h 73"/>
                <a:gd name="T6" fmla="*/ 4 w 56"/>
                <a:gd name="T7" fmla="*/ 0 h 73"/>
                <a:gd name="T8" fmla="*/ 8 w 56"/>
                <a:gd name="T9" fmla="*/ 20 h 73"/>
                <a:gd name="T10" fmla="*/ 0 w 56"/>
                <a:gd name="T11" fmla="*/ 46 h 73"/>
                <a:gd name="T12" fmla="*/ 0 w 56"/>
                <a:gd name="T13" fmla="*/ 73 h 73"/>
                <a:gd name="T14" fmla="*/ 56 w 56"/>
                <a:gd name="T15" fmla="*/ 73 h 73"/>
                <a:gd name="T16" fmla="*/ 56 w 56"/>
                <a:gd name="T17" fmla="*/ 46 h 73"/>
                <a:gd name="T18" fmla="*/ 49 w 56"/>
                <a:gd name="T19" fmla="*/ 20 h 73"/>
                <a:gd name="T20" fmla="*/ 47 w 56"/>
                <a:gd name="T21" fmla="*/ 20 h 73"/>
                <a:gd name="T22" fmla="*/ 49 w 56"/>
                <a:gd name="T23" fmla="*/ 21 h 73"/>
                <a:gd name="T24" fmla="*/ 47 w 56"/>
                <a:gd name="T25" fmla="*/ 20 h 73"/>
                <a:gd name="T26" fmla="*/ 45 w 56"/>
                <a:gd name="T27" fmla="*/ 21 h 73"/>
                <a:gd name="T28" fmla="*/ 52 w 56"/>
                <a:gd name="T29" fmla="*/ 47 h 73"/>
                <a:gd name="T30" fmla="*/ 52 w 56"/>
                <a:gd name="T31" fmla="*/ 68 h 73"/>
                <a:gd name="T32" fmla="*/ 5 w 56"/>
                <a:gd name="T33" fmla="*/ 68 h 73"/>
                <a:gd name="T34" fmla="*/ 5 w 56"/>
                <a:gd name="T35" fmla="*/ 47 h 73"/>
                <a:gd name="T36" fmla="*/ 12 w 56"/>
                <a:gd name="T37" fmla="*/ 20 h 73"/>
                <a:gd name="T38" fmla="*/ 10 w 56"/>
                <a:gd name="T39" fmla="*/ 4 h 73"/>
                <a:gd name="T40" fmla="*/ 47 w 56"/>
                <a:gd name="T41" fmla="*/ 4 h 73"/>
                <a:gd name="T42" fmla="*/ 44 w 56"/>
                <a:gd name="T43" fmla="*/ 20 h 73"/>
                <a:gd name="T44" fmla="*/ 45 w 56"/>
                <a:gd name="T45" fmla="*/ 21 h 73"/>
                <a:gd name="T46" fmla="*/ 47 w 56"/>
                <a:gd name="T47" fmla="*/ 2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6" h="73">
                  <a:moveTo>
                    <a:pt x="47" y="20"/>
                  </a:moveTo>
                  <a:lnTo>
                    <a:pt x="49" y="21"/>
                  </a:lnTo>
                  <a:lnTo>
                    <a:pt x="52" y="0"/>
                  </a:lnTo>
                  <a:lnTo>
                    <a:pt x="4" y="0"/>
                  </a:lnTo>
                  <a:lnTo>
                    <a:pt x="8" y="20"/>
                  </a:lnTo>
                  <a:lnTo>
                    <a:pt x="0" y="46"/>
                  </a:lnTo>
                  <a:lnTo>
                    <a:pt x="0" y="73"/>
                  </a:lnTo>
                  <a:lnTo>
                    <a:pt x="56" y="73"/>
                  </a:lnTo>
                  <a:lnTo>
                    <a:pt x="56" y="46"/>
                  </a:lnTo>
                  <a:lnTo>
                    <a:pt x="49" y="20"/>
                  </a:lnTo>
                  <a:lnTo>
                    <a:pt x="47" y="20"/>
                  </a:lnTo>
                  <a:lnTo>
                    <a:pt x="49" y="21"/>
                  </a:lnTo>
                  <a:lnTo>
                    <a:pt x="47" y="20"/>
                  </a:lnTo>
                  <a:lnTo>
                    <a:pt x="45" y="21"/>
                  </a:lnTo>
                  <a:lnTo>
                    <a:pt x="52" y="47"/>
                  </a:lnTo>
                  <a:lnTo>
                    <a:pt x="52" y="68"/>
                  </a:lnTo>
                  <a:lnTo>
                    <a:pt x="5" y="68"/>
                  </a:lnTo>
                  <a:lnTo>
                    <a:pt x="5" y="47"/>
                  </a:lnTo>
                  <a:lnTo>
                    <a:pt x="12" y="20"/>
                  </a:lnTo>
                  <a:lnTo>
                    <a:pt x="10" y="4"/>
                  </a:lnTo>
                  <a:lnTo>
                    <a:pt x="47" y="4"/>
                  </a:lnTo>
                  <a:lnTo>
                    <a:pt x="44" y="20"/>
                  </a:lnTo>
                  <a:lnTo>
                    <a:pt x="45" y="21"/>
                  </a:lnTo>
                  <a:lnTo>
                    <a:pt x="47" y="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29" name="Rectangle 721">
              <a:extLst>
                <a:ext uri="{FF2B5EF4-FFF2-40B4-BE49-F238E27FC236}">
                  <a16:creationId xmlns:a16="http://schemas.microsoft.com/office/drawing/2014/main" id="{D4313EA3-0ED0-BBC4-4B61-543B956ECD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651409" y="4509473"/>
              <a:ext cx="469614" cy="50769"/>
            </a:xfrm>
            <a:prstGeom prst="rect">
              <a:avLst/>
            </a:pr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30" name="Rectangle 722">
              <a:extLst>
                <a:ext uri="{FF2B5EF4-FFF2-40B4-BE49-F238E27FC236}">
                  <a16:creationId xmlns:a16="http://schemas.microsoft.com/office/drawing/2014/main" id="{164E6B6F-7E44-E590-1E4C-7407D76400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62568" y="4839469"/>
              <a:ext cx="647304" cy="63465"/>
            </a:xfrm>
            <a:prstGeom prst="rect">
              <a:avLst/>
            </a:pr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31" name="Freeform 723">
              <a:extLst>
                <a:ext uri="{FF2B5EF4-FFF2-40B4-BE49-F238E27FC236}">
                  <a16:creationId xmlns:a16="http://schemas.microsoft.com/office/drawing/2014/main" id="{724F0E33-920D-6614-BAC5-E327E8D03FFF}"/>
                </a:ext>
              </a:extLst>
            </p:cNvPr>
            <p:cNvSpPr>
              <a:spLocks/>
            </p:cNvSpPr>
            <p:nvPr/>
          </p:nvSpPr>
          <p:spPr bwMode="auto">
            <a:xfrm>
              <a:off x="7432963" y="4141396"/>
              <a:ext cx="342692" cy="215771"/>
            </a:xfrm>
            <a:custGeom>
              <a:avLst/>
              <a:gdLst>
                <a:gd name="T0" fmla="*/ 21 w 27"/>
                <a:gd name="T1" fmla="*/ 2 h 17"/>
                <a:gd name="T2" fmla="*/ 21 w 27"/>
                <a:gd name="T3" fmla="*/ 0 h 17"/>
                <a:gd name="T4" fmla="*/ 5 w 27"/>
                <a:gd name="T5" fmla="*/ 0 h 17"/>
                <a:gd name="T6" fmla="*/ 0 w 27"/>
                <a:gd name="T7" fmla="*/ 11 h 17"/>
                <a:gd name="T8" fmla="*/ 8 w 27"/>
                <a:gd name="T9" fmla="*/ 11 h 17"/>
                <a:gd name="T10" fmla="*/ 14 w 27"/>
                <a:gd name="T11" fmla="*/ 17 h 17"/>
                <a:gd name="T12" fmla="*/ 19 w 27"/>
                <a:gd name="T13" fmla="*/ 11 h 17"/>
                <a:gd name="T14" fmla="*/ 27 w 27"/>
                <a:gd name="T15" fmla="*/ 11 h 17"/>
                <a:gd name="T16" fmla="*/ 22 w 27"/>
                <a:gd name="T17" fmla="*/ 0 h 17"/>
                <a:gd name="T18" fmla="*/ 21 w 27"/>
                <a:gd name="T19" fmla="*/ 0 h 17"/>
                <a:gd name="T20" fmla="*/ 21 w 27"/>
                <a:gd name="T21" fmla="*/ 2 h 17"/>
                <a:gd name="T22" fmla="*/ 19 w 27"/>
                <a:gd name="T23" fmla="*/ 3 h 17"/>
                <a:gd name="T24" fmla="*/ 20 w 27"/>
                <a:gd name="T25" fmla="*/ 7 h 17"/>
                <a:gd name="T26" fmla="*/ 18 w 27"/>
                <a:gd name="T27" fmla="*/ 7 h 17"/>
                <a:gd name="T28" fmla="*/ 17 w 27"/>
                <a:gd name="T29" fmla="*/ 7 h 17"/>
                <a:gd name="T30" fmla="*/ 14 w 27"/>
                <a:gd name="T31" fmla="*/ 11 h 17"/>
                <a:gd name="T32" fmla="*/ 10 w 27"/>
                <a:gd name="T33" fmla="*/ 7 h 17"/>
                <a:gd name="T34" fmla="*/ 7 w 27"/>
                <a:gd name="T35" fmla="*/ 7 h 17"/>
                <a:gd name="T36" fmla="*/ 8 w 27"/>
                <a:gd name="T37" fmla="*/ 4 h 17"/>
                <a:gd name="T38" fmla="*/ 21 w 27"/>
                <a:gd name="T39" fmla="*/ 4 h 17"/>
                <a:gd name="T40" fmla="*/ 21 w 27"/>
                <a:gd name="T41" fmla="*/ 2 h 17"/>
                <a:gd name="T42" fmla="*/ 19 w 27"/>
                <a:gd name="T43" fmla="*/ 3 h 17"/>
                <a:gd name="T44" fmla="*/ 21 w 27"/>
                <a:gd name="T45" fmla="*/ 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7" h="17">
                  <a:moveTo>
                    <a:pt x="21" y="2"/>
                  </a:moveTo>
                  <a:lnTo>
                    <a:pt x="21" y="0"/>
                  </a:lnTo>
                  <a:lnTo>
                    <a:pt x="5" y="0"/>
                  </a:lnTo>
                  <a:lnTo>
                    <a:pt x="0" y="11"/>
                  </a:lnTo>
                  <a:lnTo>
                    <a:pt x="8" y="11"/>
                  </a:lnTo>
                  <a:lnTo>
                    <a:pt x="14" y="17"/>
                  </a:lnTo>
                  <a:lnTo>
                    <a:pt x="19" y="11"/>
                  </a:lnTo>
                  <a:lnTo>
                    <a:pt x="27" y="11"/>
                  </a:lnTo>
                  <a:lnTo>
                    <a:pt x="22" y="0"/>
                  </a:lnTo>
                  <a:lnTo>
                    <a:pt x="21" y="0"/>
                  </a:lnTo>
                  <a:lnTo>
                    <a:pt x="21" y="2"/>
                  </a:lnTo>
                  <a:lnTo>
                    <a:pt x="19" y="3"/>
                  </a:lnTo>
                  <a:lnTo>
                    <a:pt x="20" y="7"/>
                  </a:lnTo>
                  <a:lnTo>
                    <a:pt x="18" y="7"/>
                  </a:lnTo>
                  <a:lnTo>
                    <a:pt x="17" y="7"/>
                  </a:lnTo>
                  <a:lnTo>
                    <a:pt x="14" y="11"/>
                  </a:lnTo>
                  <a:lnTo>
                    <a:pt x="10" y="7"/>
                  </a:lnTo>
                  <a:lnTo>
                    <a:pt x="7" y="7"/>
                  </a:lnTo>
                  <a:lnTo>
                    <a:pt x="8" y="4"/>
                  </a:lnTo>
                  <a:lnTo>
                    <a:pt x="21" y="4"/>
                  </a:lnTo>
                  <a:lnTo>
                    <a:pt x="21" y="2"/>
                  </a:lnTo>
                  <a:lnTo>
                    <a:pt x="19" y="3"/>
                  </a:lnTo>
                  <a:lnTo>
                    <a:pt x="21" y="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32" name="Rectangle 724">
              <a:extLst>
                <a:ext uri="{FF2B5EF4-FFF2-40B4-BE49-F238E27FC236}">
                  <a16:creationId xmlns:a16="http://schemas.microsoft.com/office/drawing/2014/main" id="{4FD575EE-AF4D-0A96-C4B4-B9E7B24824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20274" y="4763316"/>
              <a:ext cx="368076" cy="50769"/>
            </a:xfrm>
            <a:prstGeom prst="rect">
              <a:avLst/>
            </a:pr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33" name="Rectangle 725">
              <a:extLst>
                <a:ext uri="{FF2B5EF4-FFF2-40B4-BE49-F238E27FC236}">
                  <a16:creationId xmlns:a16="http://schemas.microsoft.com/office/drawing/2014/main" id="{CDBB188B-D727-AB15-8250-BDCC4FC7BC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20274" y="4877541"/>
              <a:ext cx="368076" cy="50769"/>
            </a:xfrm>
            <a:prstGeom prst="rect">
              <a:avLst/>
            </a:pr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34" name="Rectangle 726">
              <a:extLst>
                <a:ext uri="{FF2B5EF4-FFF2-40B4-BE49-F238E27FC236}">
                  <a16:creationId xmlns:a16="http://schemas.microsoft.com/office/drawing/2014/main" id="{BAE34DD3-A231-2B7F-DA9B-5348BDE078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20274" y="4991774"/>
              <a:ext cx="368076" cy="63465"/>
            </a:xfrm>
            <a:prstGeom prst="rect">
              <a:avLst/>
            </a:pr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35" name="Freeform 727">
              <a:extLst>
                <a:ext uri="{FF2B5EF4-FFF2-40B4-BE49-F238E27FC236}">
                  <a16:creationId xmlns:a16="http://schemas.microsoft.com/office/drawing/2014/main" id="{343FBD42-690A-C956-437C-9C03FAF5B035}"/>
                </a:ext>
              </a:extLst>
            </p:cNvPr>
            <p:cNvSpPr>
              <a:spLocks/>
            </p:cNvSpPr>
            <p:nvPr/>
          </p:nvSpPr>
          <p:spPr bwMode="auto">
            <a:xfrm>
              <a:off x="8308725" y="3113336"/>
              <a:ext cx="203074" cy="203074"/>
            </a:xfrm>
            <a:custGeom>
              <a:avLst/>
              <a:gdLst>
                <a:gd name="T0" fmla="*/ 104 w 121"/>
                <a:gd name="T1" fmla="*/ 61 h 122"/>
                <a:gd name="T2" fmla="*/ 88 w 121"/>
                <a:gd name="T3" fmla="*/ 61 h 122"/>
                <a:gd name="T4" fmla="*/ 60 w 121"/>
                <a:gd name="T5" fmla="*/ 88 h 122"/>
                <a:gd name="T6" fmla="*/ 33 w 121"/>
                <a:gd name="T7" fmla="*/ 61 h 122"/>
                <a:gd name="T8" fmla="*/ 60 w 121"/>
                <a:gd name="T9" fmla="*/ 33 h 122"/>
                <a:gd name="T10" fmla="*/ 88 w 121"/>
                <a:gd name="T11" fmla="*/ 61 h 122"/>
                <a:gd name="T12" fmla="*/ 104 w 121"/>
                <a:gd name="T13" fmla="*/ 61 h 122"/>
                <a:gd name="T14" fmla="*/ 121 w 121"/>
                <a:gd name="T15" fmla="*/ 61 h 122"/>
                <a:gd name="T16" fmla="*/ 60 w 121"/>
                <a:gd name="T17" fmla="*/ 0 h 122"/>
                <a:gd name="T18" fmla="*/ 0 w 121"/>
                <a:gd name="T19" fmla="*/ 61 h 122"/>
                <a:gd name="T20" fmla="*/ 60 w 121"/>
                <a:gd name="T21" fmla="*/ 122 h 122"/>
                <a:gd name="T22" fmla="*/ 121 w 121"/>
                <a:gd name="T23" fmla="*/ 61 h 122"/>
                <a:gd name="T24" fmla="*/ 104 w 121"/>
                <a:gd name="T25" fmla="*/ 61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1" h="122">
                  <a:moveTo>
                    <a:pt x="104" y="61"/>
                  </a:moveTo>
                  <a:lnTo>
                    <a:pt x="88" y="61"/>
                  </a:lnTo>
                  <a:cubicBezTo>
                    <a:pt x="88" y="76"/>
                    <a:pt x="76" y="88"/>
                    <a:pt x="60" y="88"/>
                  </a:cubicBezTo>
                  <a:cubicBezTo>
                    <a:pt x="45" y="88"/>
                    <a:pt x="33" y="76"/>
                    <a:pt x="33" y="61"/>
                  </a:cubicBezTo>
                  <a:cubicBezTo>
                    <a:pt x="33" y="46"/>
                    <a:pt x="45" y="33"/>
                    <a:pt x="60" y="33"/>
                  </a:cubicBezTo>
                  <a:cubicBezTo>
                    <a:pt x="76" y="33"/>
                    <a:pt x="88" y="46"/>
                    <a:pt x="88" y="61"/>
                  </a:cubicBezTo>
                  <a:lnTo>
                    <a:pt x="104" y="61"/>
                  </a:lnTo>
                  <a:lnTo>
                    <a:pt x="121" y="61"/>
                  </a:lnTo>
                  <a:cubicBezTo>
                    <a:pt x="121" y="27"/>
                    <a:pt x="94" y="0"/>
                    <a:pt x="60" y="0"/>
                  </a:cubicBezTo>
                  <a:cubicBezTo>
                    <a:pt x="27" y="0"/>
                    <a:pt x="0" y="27"/>
                    <a:pt x="0" y="61"/>
                  </a:cubicBezTo>
                  <a:cubicBezTo>
                    <a:pt x="0" y="94"/>
                    <a:pt x="27" y="122"/>
                    <a:pt x="60" y="122"/>
                  </a:cubicBezTo>
                  <a:cubicBezTo>
                    <a:pt x="94" y="122"/>
                    <a:pt x="121" y="94"/>
                    <a:pt x="121" y="61"/>
                  </a:cubicBezTo>
                  <a:lnTo>
                    <a:pt x="104" y="6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36" name="Freeform 728">
              <a:extLst>
                <a:ext uri="{FF2B5EF4-FFF2-40B4-BE49-F238E27FC236}">
                  <a16:creationId xmlns:a16="http://schemas.microsoft.com/office/drawing/2014/main" id="{416DE228-1071-4755-B266-F12E9F8F938C}"/>
                </a:ext>
              </a:extLst>
            </p:cNvPr>
            <p:cNvSpPr>
              <a:spLocks/>
            </p:cNvSpPr>
            <p:nvPr/>
          </p:nvSpPr>
          <p:spPr bwMode="auto">
            <a:xfrm>
              <a:off x="8765643" y="3582941"/>
              <a:ext cx="203074" cy="190386"/>
            </a:xfrm>
            <a:custGeom>
              <a:avLst/>
              <a:gdLst>
                <a:gd name="T0" fmla="*/ 105 w 122"/>
                <a:gd name="T1" fmla="*/ 60 h 121"/>
                <a:gd name="T2" fmla="*/ 88 w 122"/>
                <a:gd name="T3" fmla="*/ 60 h 121"/>
                <a:gd name="T4" fmla="*/ 61 w 122"/>
                <a:gd name="T5" fmla="*/ 88 h 121"/>
                <a:gd name="T6" fmla="*/ 33 w 122"/>
                <a:gd name="T7" fmla="*/ 60 h 121"/>
                <a:gd name="T8" fmla="*/ 61 w 122"/>
                <a:gd name="T9" fmla="*/ 33 h 121"/>
                <a:gd name="T10" fmla="*/ 88 w 122"/>
                <a:gd name="T11" fmla="*/ 60 h 121"/>
                <a:gd name="T12" fmla="*/ 105 w 122"/>
                <a:gd name="T13" fmla="*/ 60 h 121"/>
                <a:gd name="T14" fmla="*/ 122 w 122"/>
                <a:gd name="T15" fmla="*/ 60 h 121"/>
                <a:gd name="T16" fmla="*/ 61 w 122"/>
                <a:gd name="T17" fmla="*/ 0 h 121"/>
                <a:gd name="T18" fmla="*/ 0 w 122"/>
                <a:gd name="T19" fmla="*/ 60 h 121"/>
                <a:gd name="T20" fmla="*/ 61 w 122"/>
                <a:gd name="T21" fmla="*/ 121 h 121"/>
                <a:gd name="T22" fmla="*/ 122 w 122"/>
                <a:gd name="T23" fmla="*/ 60 h 121"/>
                <a:gd name="T24" fmla="*/ 105 w 122"/>
                <a:gd name="T25" fmla="*/ 6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2" h="121">
                  <a:moveTo>
                    <a:pt x="105" y="60"/>
                  </a:moveTo>
                  <a:lnTo>
                    <a:pt x="88" y="60"/>
                  </a:lnTo>
                  <a:cubicBezTo>
                    <a:pt x="88" y="75"/>
                    <a:pt x="76" y="88"/>
                    <a:pt x="61" y="88"/>
                  </a:cubicBezTo>
                  <a:cubicBezTo>
                    <a:pt x="46" y="88"/>
                    <a:pt x="33" y="75"/>
                    <a:pt x="33" y="60"/>
                  </a:cubicBezTo>
                  <a:cubicBezTo>
                    <a:pt x="33" y="45"/>
                    <a:pt x="46" y="33"/>
                    <a:pt x="61" y="33"/>
                  </a:cubicBezTo>
                  <a:cubicBezTo>
                    <a:pt x="76" y="33"/>
                    <a:pt x="88" y="45"/>
                    <a:pt x="88" y="60"/>
                  </a:cubicBezTo>
                  <a:lnTo>
                    <a:pt x="105" y="60"/>
                  </a:lnTo>
                  <a:lnTo>
                    <a:pt x="122" y="60"/>
                  </a:lnTo>
                  <a:cubicBezTo>
                    <a:pt x="122" y="27"/>
                    <a:pt x="94" y="0"/>
                    <a:pt x="61" y="0"/>
                  </a:cubicBezTo>
                  <a:cubicBezTo>
                    <a:pt x="27" y="0"/>
                    <a:pt x="0" y="27"/>
                    <a:pt x="0" y="60"/>
                  </a:cubicBezTo>
                  <a:cubicBezTo>
                    <a:pt x="0" y="94"/>
                    <a:pt x="27" y="121"/>
                    <a:pt x="61" y="121"/>
                  </a:cubicBezTo>
                  <a:cubicBezTo>
                    <a:pt x="94" y="121"/>
                    <a:pt x="122" y="94"/>
                    <a:pt x="122" y="60"/>
                  </a:cubicBezTo>
                  <a:lnTo>
                    <a:pt x="105" y="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37" name="Freeform 729">
              <a:extLst>
                <a:ext uri="{FF2B5EF4-FFF2-40B4-BE49-F238E27FC236}">
                  <a16:creationId xmlns:a16="http://schemas.microsoft.com/office/drawing/2014/main" id="{2857A16B-C5DA-5DC0-D2E5-59D9FAF2CB2C}"/>
                </a:ext>
              </a:extLst>
            </p:cNvPr>
            <p:cNvSpPr>
              <a:spLocks/>
            </p:cNvSpPr>
            <p:nvPr/>
          </p:nvSpPr>
          <p:spPr bwMode="auto">
            <a:xfrm>
              <a:off x="8587953" y="3087951"/>
              <a:ext cx="177690" cy="291924"/>
            </a:xfrm>
            <a:custGeom>
              <a:avLst/>
              <a:gdLst>
                <a:gd name="T0" fmla="*/ 0 w 113"/>
                <a:gd name="T1" fmla="*/ 32 h 173"/>
                <a:gd name="T2" fmla="*/ 0 w 113"/>
                <a:gd name="T3" fmla="*/ 32 h 173"/>
                <a:gd name="T4" fmla="*/ 44 w 113"/>
                <a:gd name="T5" fmla="*/ 50 h 173"/>
                <a:gd name="T6" fmla="*/ 69 w 113"/>
                <a:gd name="T7" fmla="*/ 72 h 173"/>
                <a:gd name="T8" fmla="*/ 80 w 113"/>
                <a:gd name="T9" fmla="*/ 102 h 173"/>
                <a:gd name="T10" fmla="*/ 60 w 113"/>
                <a:gd name="T11" fmla="*/ 154 h 173"/>
                <a:gd name="T12" fmla="*/ 87 w 113"/>
                <a:gd name="T13" fmla="*/ 173 h 173"/>
                <a:gd name="T14" fmla="*/ 113 w 113"/>
                <a:gd name="T15" fmla="*/ 102 h 173"/>
                <a:gd name="T16" fmla="*/ 95 w 113"/>
                <a:gd name="T17" fmla="*/ 51 h 173"/>
                <a:gd name="T18" fmla="*/ 40 w 113"/>
                <a:gd name="T19" fmla="*/ 11 h 173"/>
                <a:gd name="T20" fmla="*/ 7 w 113"/>
                <a:gd name="T21" fmla="*/ 0 h 173"/>
                <a:gd name="T22" fmla="*/ 0 w 113"/>
                <a:gd name="T23" fmla="*/ 32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3" h="173">
                  <a:moveTo>
                    <a:pt x="0" y="32"/>
                  </a:moveTo>
                  <a:lnTo>
                    <a:pt x="0" y="32"/>
                  </a:lnTo>
                  <a:cubicBezTo>
                    <a:pt x="2" y="33"/>
                    <a:pt x="24" y="38"/>
                    <a:pt x="44" y="50"/>
                  </a:cubicBezTo>
                  <a:cubicBezTo>
                    <a:pt x="54" y="56"/>
                    <a:pt x="63" y="64"/>
                    <a:pt x="69" y="72"/>
                  </a:cubicBezTo>
                  <a:cubicBezTo>
                    <a:pt x="76" y="81"/>
                    <a:pt x="80" y="90"/>
                    <a:pt x="80" y="102"/>
                  </a:cubicBezTo>
                  <a:cubicBezTo>
                    <a:pt x="80" y="115"/>
                    <a:pt x="75" y="132"/>
                    <a:pt x="60" y="154"/>
                  </a:cubicBezTo>
                  <a:lnTo>
                    <a:pt x="87" y="173"/>
                  </a:lnTo>
                  <a:cubicBezTo>
                    <a:pt x="105" y="147"/>
                    <a:pt x="113" y="124"/>
                    <a:pt x="113" y="102"/>
                  </a:cubicBezTo>
                  <a:cubicBezTo>
                    <a:pt x="113" y="82"/>
                    <a:pt x="106" y="64"/>
                    <a:pt x="95" y="51"/>
                  </a:cubicBezTo>
                  <a:cubicBezTo>
                    <a:pt x="79" y="31"/>
                    <a:pt x="57" y="19"/>
                    <a:pt x="40" y="11"/>
                  </a:cubicBezTo>
                  <a:cubicBezTo>
                    <a:pt x="22" y="3"/>
                    <a:pt x="8" y="0"/>
                    <a:pt x="7" y="0"/>
                  </a:cubicBezTo>
                  <a:lnTo>
                    <a:pt x="0" y="32"/>
                  </a:lnTo>
                </a:path>
              </a:pathLst>
            </a:cu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38" name="Freeform 730">
              <a:extLst>
                <a:ext uri="{FF2B5EF4-FFF2-40B4-BE49-F238E27FC236}">
                  <a16:creationId xmlns:a16="http://schemas.microsoft.com/office/drawing/2014/main" id="{A541B5E6-FA14-482D-F3BC-80391BC64317}"/>
                </a:ext>
              </a:extLst>
            </p:cNvPr>
            <p:cNvSpPr>
              <a:spLocks/>
            </p:cNvSpPr>
            <p:nvPr/>
          </p:nvSpPr>
          <p:spPr bwMode="auto">
            <a:xfrm>
              <a:off x="8994102" y="3709863"/>
              <a:ext cx="152306" cy="279227"/>
            </a:xfrm>
            <a:custGeom>
              <a:avLst/>
              <a:gdLst>
                <a:gd name="T0" fmla="*/ 34 w 91"/>
                <a:gd name="T1" fmla="*/ 21 h 170"/>
                <a:gd name="T2" fmla="*/ 36 w 91"/>
                <a:gd name="T3" fmla="*/ 20 h 170"/>
                <a:gd name="T4" fmla="*/ 34 w 91"/>
                <a:gd name="T5" fmla="*/ 21 h 170"/>
                <a:gd name="T6" fmla="*/ 34 w 91"/>
                <a:gd name="T7" fmla="*/ 21 h 170"/>
                <a:gd name="T8" fmla="*/ 36 w 91"/>
                <a:gd name="T9" fmla="*/ 20 h 170"/>
                <a:gd name="T10" fmla="*/ 34 w 91"/>
                <a:gd name="T11" fmla="*/ 21 h 170"/>
                <a:gd name="T12" fmla="*/ 47 w 91"/>
                <a:gd name="T13" fmla="*/ 41 h 170"/>
                <a:gd name="T14" fmla="*/ 58 w 91"/>
                <a:gd name="T15" fmla="*/ 81 h 170"/>
                <a:gd name="T16" fmla="*/ 47 w 91"/>
                <a:gd name="T17" fmla="*/ 111 h 170"/>
                <a:gd name="T18" fmla="*/ 0 w 91"/>
                <a:gd name="T19" fmla="*/ 138 h 170"/>
                <a:gd name="T20" fmla="*/ 10 w 91"/>
                <a:gd name="T21" fmla="*/ 170 h 170"/>
                <a:gd name="T22" fmla="*/ 73 w 91"/>
                <a:gd name="T23" fmla="*/ 132 h 170"/>
                <a:gd name="T24" fmla="*/ 91 w 91"/>
                <a:gd name="T25" fmla="*/ 81 h 170"/>
                <a:gd name="T26" fmla="*/ 76 w 91"/>
                <a:gd name="T27" fmla="*/ 24 h 170"/>
                <a:gd name="T28" fmla="*/ 60 w 91"/>
                <a:gd name="T29" fmla="*/ 0 h 170"/>
                <a:gd name="T30" fmla="*/ 34 w 91"/>
                <a:gd name="T31" fmla="*/ 21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1" h="170">
                  <a:moveTo>
                    <a:pt x="34" y="21"/>
                  </a:moveTo>
                  <a:lnTo>
                    <a:pt x="36" y="20"/>
                  </a:lnTo>
                  <a:lnTo>
                    <a:pt x="34" y="21"/>
                  </a:lnTo>
                  <a:lnTo>
                    <a:pt x="34" y="21"/>
                  </a:lnTo>
                  <a:lnTo>
                    <a:pt x="36" y="20"/>
                  </a:lnTo>
                  <a:lnTo>
                    <a:pt x="34" y="21"/>
                  </a:lnTo>
                  <a:cubicBezTo>
                    <a:pt x="35" y="21"/>
                    <a:pt x="41" y="29"/>
                    <a:pt x="47" y="41"/>
                  </a:cubicBezTo>
                  <a:cubicBezTo>
                    <a:pt x="53" y="52"/>
                    <a:pt x="58" y="67"/>
                    <a:pt x="58" y="81"/>
                  </a:cubicBezTo>
                  <a:cubicBezTo>
                    <a:pt x="58" y="92"/>
                    <a:pt x="55" y="101"/>
                    <a:pt x="47" y="111"/>
                  </a:cubicBezTo>
                  <a:cubicBezTo>
                    <a:pt x="39" y="121"/>
                    <a:pt x="25" y="131"/>
                    <a:pt x="0" y="138"/>
                  </a:cubicBezTo>
                  <a:lnTo>
                    <a:pt x="10" y="170"/>
                  </a:lnTo>
                  <a:cubicBezTo>
                    <a:pt x="39" y="161"/>
                    <a:pt x="59" y="148"/>
                    <a:pt x="73" y="132"/>
                  </a:cubicBezTo>
                  <a:cubicBezTo>
                    <a:pt x="86" y="116"/>
                    <a:pt x="91" y="98"/>
                    <a:pt x="91" y="81"/>
                  </a:cubicBezTo>
                  <a:cubicBezTo>
                    <a:pt x="91" y="59"/>
                    <a:pt x="83" y="39"/>
                    <a:pt x="76" y="24"/>
                  </a:cubicBezTo>
                  <a:cubicBezTo>
                    <a:pt x="68" y="10"/>
                    <a:pt x="61" y="1"/>
                    <a:pt x="60" y="0"/>
                  </a:cubicBezTo>
                  <a:lnTo>
                    <a:pt x="34" y="21"/>
                  </a:lnTo>
                </a:path>
              </a:pathLst>
            </a:cu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</p:grpSp>
      <p:sp>
        <p:nvSpPr>
          <p:cNvPr id="16399" name="TextBox 140">
            <a:extLst>
              <a:ext uri="{FF2B5EF4-FFF2-40B4-BE49-F238E27FC236}">
                <a16:creationId xmlns:a16="http://schemas.microsoft.com/office/drawing/2014/main" id="{6BD786C1-0C9F-9F91-3228-7E79F215EC2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8775" y="1809750"/>
            <a:ext cx="2497138" cy="831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/>
          <a:p>
            <a:r>
              <a:rPr lang="en-US" altLang="lv-LV" sz="1600" b="1">
                <a:solidFill>
                  <a:schemeClr val="accent1"/>
                </a:solidFill>
              </a:rPr>
              <a:t>E-Veselība</a:t>
            </a:r>
          </a:p>
          <a:p>
            <a:r>
              <a:rPr lang="lv-LV" altLang="en-US" sz="1600">
                <a:latin typeface="Calibri" panose="020F0502020204030204" pitchFamily="34" charset="0"/>
                <a:ea typeface="Calibri" panose="020F0502020204030204" pitchFamily="34" charset="0"/>
                <a:cs typeface="SimSun" panose="02010600030101010101" pitchFamily="2" charset="-122"/>
              </a:rPr>
              <a:t>Jauna</a:t>
            </a:r>
            <a:r>
              <a:rPr lang="en-US" altLang="en-US" sz="1600">
                <a:latin typeface="Calibri" panose="020F0502020204030204" pitchFamily="34" charset="0"/>
                <a:ea typeface="Calibri" panose="020F0502020204030204" pitchFamily="34" charset="0"/>
                <a:cs typeface="SimSun" panose="02010600030101010101" pitchFamily="2" charset="-122"/>
              </a:rPr>
              <a:t> sadaļa</a:t>
            </a:r>
            <a:r>
              <a:rPr lang="lv-LV" altLang="en-US" sz="1600">
                <a:latin typeface="Calibri" panose="020F0502020204030204" pitchFamily="34" charset="0"/>
                <a:ea typeface="Calibri" panose="020F0502020204030204" pitchFamily="34" charset="0"/>
                <a:cs typeface="SimSun" panose="02010600030101010101" pitchFamily="2" charset="-122"/>
              </a:rPr>
              <a:t> izvēl</a:t>
            </a:r>
            <a:r>
              <a:rPr lang="en-US" altLang="en-US" sz="1600">
                <a:latin typeface="Calibri" panose="020F0502020204030204" pitchFamily="34" charset="0"/>
                <a:ea typeface="Calibri" panose="020F0502020204030204" pitchFamily="34" charset="0"/>
                <a:cs typeface="SimSun" panose="02010600030101010101" pitchFamily="2" charset="-122"/>
              </a:rPr>
              <a:t>nē</a:t>
            </a:r>
            <a:r>
              <a:rPr lang="lv-LV" altLang="en-US" sz="1600">
                <a:latin typeface="Calibri" panose="020F0502020204030204" pitchFamily="34" charset="0"/>
                <a:ea typeface="Calibri" panose="020F0502020204030204" pitchFamily="34" charset="0"/>
                <a:cs typeface="SimSun" panose="02010600030101010101" pitchFamily="2" charset="-122"/>
              </a:rPr>
              <a:t> E-Veselības portālā</a:t>
            </a:r>
            <a:r>
              <a:rPr lang="en-US" altLang="lv-LV" sz="1600"/>
              <a:t>.</a:t>
            </a:r>
          </a:p>
        </p:txBody>
      </p:sp>
      <p:sp>
        <p:nvSpPr>
          <p:cNvPr id="144" name="TextBox 143">
            <a:extLst>
              <a:ext uri="{FF2B5EF4-FFF2-40B4-BE49-F238E27FC236}">
                <a16:creationId xmlns:a16="http://schemas.microsoft.com/office/drawing/2014/main" id="{76B83998-A74D-7B8A-CEE1-A7B47FA34C00}"/>
              </a:ext>
            </a:extLst>
          </p:cNvPr>
          <p:cNvSpPr txBox="1"/>
          <p:nvPr/>
        </p:nvSpPr>
        <p:spPr>
          <a:xfrm>
            <a:off x="6259513" y="1800225"/>
            <a:ext cx="2684462" cy="2308225"/>
          </a:xfrm>
          <a:prstGeom prst="rect">
            <a:avLst/>
          </a:prstGeom>
          <a:noFill/>
        </p:spPr>
        <p:txBody>
          <a:bodyPr anchor="ctr">
            <a:spAutoFit/>
          </a:bodyPr>
          <a:lstStyle/>
          <a:p>
            <a:pPr algn="r">
              <a:defRPr/>
            </a:pPr>
            <a:r>
              <a:rPr lang="en-US" sz="1600" b="1" dirty="0">
                <a:solidFill>
                  <a:schemeClr val="accent4"/>
                </a:solidFill>
              </a:rPr>
              <a:t>LAB.Covid19sertifikats.lv</a:t>
            </a:r>
          </a:p>
          <a:p>
            <a:pPr algn="r">
              <a:defRPr/>
            </a:pPr>
            <a:r>
              <a:rPr lang="en-US" altLang="en-US" sz="1600" dirty="0">
                <a:latin typeface="Calibri" panose="020F0502020204030204" pitchFamily="34" charset="0"/>
                <a:ea typeface="Calibri" panose="020F0502020204030204" pitchFamily="34" charset="0"/>
                <a:cs typeface="SimSun" panose="02010600030101010101" pitchFamily="2" charset="-122"/>
              </a:rPr>
              <a:t>I</a:t>
            </a:r>
            <a:r>
              <a:rPr lang="lv-LV" altLang="en-US" sz="1600" dirty="0" err="1">
                <a:latin typeface="Calibri" panose="020F0502020204030204" pitchFamily="34" charset="0"/>
                <a:ea typeface="Calibri" panose="020F0502020204030204" pitchFamily="34" charset="0"/>
                <a:cs typeface="SimSun" panose="02010600030101010101" pitchFamily="2" charset="-122"/>
              </a:rPr>
              <a:t>zveidota</a:t>
            </a:r>
            <a:r>
              <a:rPr lang="lv-LV" altLang="en-US" sz="1600" dirty="0">
                <a:latin typeface="Calibri" panose="020F0502020204030204" pitchFamily="34" charset="0"/>
                <a:ea typeface="Calibri" panose="020F0502020204030204" pitchFamily="34" charset="0"/>
                <a:cs typeface="SimSun" panose="02010600030101010101" pitchFamily="2" charset="-122"/>
              </a:rPr>
              <a:t> jauna navigācija “Riska pacientu saraksts”. Navigācija pieejam ārstniecības personām, kuras ir darba vietu klasifikatorā aktuālas un tiem lietotājiem, kuriem ir attiecīgas tiesības.</a:t>
            </a:r>
            <a:endParaRPr lang="en-US" altLang="en-US" sz="1600" dirty="0">
              <a:latin typeface="Calibri" panose="020F0502020204030204" pitchFamily="34" charset="0"/>
              <a:ea typeface="Calibri" panose="020F0502020204030204" pitchFamily="34" charset="0"/>
              <a:cs typeface="SimSun" panose="02010600030101010101" pitchFamily="2" charset="-122"/>
            </a:endParaRPr>
          </a:p>
          <a:p>
            <a:pPr algn="r">
              <a:defRPr/>
            </a:pPr>
            <a:r>
              <a:rPr lang="en-US" sz="1600" dirty="0"/>
              <a:t>.</a:t>
            </a:r>
          </a:p>
        </p:txBody>
      </p:sp>
      <p:pic>
        <p:nvPicPr>
          <p:cNvPr id="16401" name="Picture 7" descr="Graphical user interface&#10;&#10;Description automatically generated">
            <a:extLst>
              <a:ext uri="{FF2B5EF4-FFF2-40B4-BE49-F238E27FC236}">
                <a16:creationId xmlns:a16="http://schemas.microsoft.com/office/drawing/2014/main" id="{984EF731-EF0A-5D2A-5D6F-C3A80B111F0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9925" y="4367213"/>
            <a:ext cx="3171825" cy="1184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402" name="Picture 150" descr="A picture containing text&#10;&#10;Description automatically generated">
            <a:extLst>
              <a:ext uri="{FF2B5EF4-FFF2-40B4-BE49-F238E27FC236}">
                <a16:creationId xmlns:a16="http://schemas.microsoft.com/office/drawing/2014/main" id="{4CD529E8-9909-28E4-CEE9-506C5963FF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9765" b="12196"/>
          <a:stretch>
            <a:fillRect/>
          </a:stretch>
        </p:blipFill>
        <p:spPr bwMode="auto">
          <a:xfrm>
            <a:off x="298450" y="2941638"/>
            <a:ext cx="2216150" cy="3211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heme/theme1.xml><?xml version="1.0" encoding="utf-8"?>
<a:theme xmlns:a="http://schemas.openxmlformats.org/drawingml/2006/main" name="89_Prezentacija_templateLV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Titullapa_kontaktinformacija">
      <a:majorFont>
        <a:latin typeface="Times New Roman"/>
        <a:ea typeface=""/>
        <a:cs typeface=""/>
      </a:majorFont>
      <a:minorFont>
        <a:latin typeface="Times New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89_Prezentacija_templateLV</Template>
  <TotalTime>3936</TotalTime>
  <Words>68</Words>
  <Application>Microsoft Office PowerPoint</Application>
  <PresentationFormat>Slaidrāde ekrānā (4:3)</PresentationFormat>
  <Paragraphs>12</Paragraphs>
  <Slides>2</Slides>
  <Notes>2</Notes>
  <HiddenSlides>0</HiddenSlides>
  <MMClips>0</MMClips>
  <ScaleCrop>false</ScaleCrop>
  <HeadingPairs>
    <vt:vector size="6" baseType="variant">
      <vt:variant>
        <vt:lpstr>Lietotie fonti</vt:lpstr>
      </vt:variant>
      <vt:variant>
        <vt:i4>7</vt:i4>
      </vt:variant>
      <vt:variant>
        <vt:lpstr>Dizains</vt:lpstr>
      </vt:variant>
      <vt:variant>
        <vt:i4>1</vt:i4>
      </vt:variant>
      <vt:variant>
        <vt:lpstr>Slaidu virsraksti</vt:lpstr>
      </vt:variant>
      <vt:variant>
        <vt:i4>2</vt:i4>
      </vt:variant>
    </vt:vector>
  </HeadingPairs>
  <TitlesOfParts>
    <vt:vector size="10" baseType="lpstr">
      <vt:lpstr>Times New Roman</vt:lpstr>
      <vt:lpstr>Arial</vt:lpstr>
      <vt:lpstr>Calibri</vt:lpstr>
      <vt:lpstr>Verdana</vt:lpstr>
      <vt:lpstr>Wingdings</vt:lpstr>
      <vt:lpstr>Courier New</vt:lpstr>
      <vt:lpstr>SimSun</vt:lpstr>
      <vt:lpstr>89_Prezentacija_templateLV</vt:lpstr>
      <vt:lpstr>Covid-19 vakcinācijas aptvere ģimenes ārstu praksēs 2022. gada rudens sezonā reģistrētiem pacientiem</vt:lpstr>
      <vt:lpstr>ĢĀ riska pacientu sarakst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agnija</dc:creator>
  <cp:lastModifiedBy>Līga Gaigala</cp:lastModifiedBy>
  <cp:revision>37</cp:revision>
  <dcterms:created xsi:type="dcterms:W3CDTF">2014-11-20T14:46:47Z</dcterms:created>
  <dcterms:modified xsi:type="dcterms:W3CDTF">2022-12-30T11:17:59Z</dcterms:modified>
</cp:coreProperties>
</file>